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9" r:id="rId1"/>
    <p:sldMasterId id="2147483747" r:id="rId2"/>
  </p:sldMasterIdLst>
  <p:notesMasterIdLst>
    <p:notesMasterId r:id="rId8"/>
  </p:notesMasterIdLst>
  <p:handoutMasterIdLst>
    <p:handoutMasterId r:id="rId9"/>
  </p:handoutMasterIdLst>
  <p:sldIdLst>
    <p:sldId id="303" r:id="rId3"/>
    <p:sldId id="730" r:id="rId4"/>
    <p:sldId id="731" r:id="rId5"/>
    <p:sldId id="733" r:id="rId6"/>
    <p:sldId id="729" r:id="rId7"/>
  </p:sldIdLst>
  <p:sldSz cx="9144000" cy="6858000" type="screen4x3"/>
  <p:notesSz cx="6797675" cy="9928225"/>
  <p:defaultTextStyle>
    <a:defPPr>
      <a:defRPr lang="en-GB"/>
    </a:defPPr>
    <a:lvl1pPr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1pPr>
    <a:lvl2pPr marL="4572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2pPr>
    <a:lvl3pPr marL="9144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3pPr>
    <a:lvl4pPr marL="13716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4pPr>
    <a:lvl5pPr marL="18288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5pPr>
    <a:lvl6pPr marL="2286000" algn="l" defTabSz="914400" rtl="0" eaLnBrk="1" latinLnBrk="0" hangingPunct="1">
      <a:defRPr sz="1000" kern="1200">
        <a:solidFill>
          <a:schemeClr val="tx1"/>
        </a:solidFill>
        <a:latin typeface="Arial" pitchFamily="34" charset="0"/>
        <a:ea typeface="+mn-ea"/>
        <a:cs typeface="Arial" pitchFamily="34" charset="0"/>
      </a:defRPr>
    </a:lvl6pPr>
    <a:lvl7pPr marL="2743200" algn="l" defTabSz="914400" rtl="0" eaLnBrk="1" latinLnBrk="0" hangingPunct="1">
      <a:defRPr sz="1000" kern="1200">
        <a:solidFill>
          <a:schemeClr val="tx1"/>
        </a:solidFill>
        <a:latin typeface="Arial" pitchFamily="34" charset="0"/>
        <a:ea typeface="+mn-ea"/>
        <a:cs typeface="Arial" pitchFamily="34" charset="0"/>
      </a:defRPr>
    </a:lvl7pPr>
    <a:lvl8pPr marL="3200400" algn="l" defTabSz="914400" rtl="0" eaLnBrk="1" latinLnBrk="0" hangingPunct="1">
      <a:defRPr sz="1000" kern="1200">
        <a:solidFill>
          <a:schemeClr val="tx1"/>
        </a:solidFill>
        <a:latin typeface="Arial" pitchFamily="34" charset="0"/>
        <a:ea typeface="+mn-ea"/>
        <a:cs typeface="Arial" pitchFamily="34" charset="0"/>
      </a:defRPr>
    </a:lvl8pPr>
    <a:lvl9pPr marL="3657600" algn="l" defTabSz="914400" rtl="0" eaLnBrk="1" latinLnBrk="0" hangingPunct="1">
      <a:defRPr sz="10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72AF2F"/>
    <a:srgbClr val="5C88D0"/>
    <a:srgbClr val="2A6EA8"/>
    <a:srgbClr val="B1D254"/>
    <a:srgbClr val="72732F"/>
    <a:srgbClr val="C6D254"/>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91" autoAdjust="0"/>
    <p:restoredTop sz="92507" autoAdjust="0"/>
  </p:normalViewPr>
  <p:slideViewPr>
    <p:cSldViewPr snapToGrid="0">
      <p:cViewPr varScale="1">
        <p:scale>
          <a:sx n="58" d="100"/>
          <a:sy n="58" d="100"/>
        </p:scale>
        <p:origin x="1500" y="4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p:cViewPr varScale="1">
        <p:scale>
          <a:sx n="73" d="100"/>
          <a:sy n="73" d="100"/>
        </p:scale>
        <p:origin x="-2280" y="-10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handoutMaster" Target="handoutMasters/handout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andramouli, Devaki (Nokia - US/Dallas)" userId="ebf2a9f8-651b-4485-926f-9d93c0eafbc5" providerId="ADAL" clId="{46F169D8-67E5-47E4-B5CE-A8A97D2B715B}"/>
    <pc:docChg chg="custSel delSld modSld modMainMaster">
      <pc:chgData name="Chandramouli, Devaki (Nokia - US/Dallas)" userId="ebf2a9f8-651b-4485-926f-9d93c0eafbc5" providerId="ADAL" clId="{46F169D8-67E5-47E4-B5CE-A8A97D2B715B}" dt="2021-01-27T03:01:47.406" v="40" actId="2696"/>
      <pc:docMkLst>
        <pc:docMk/>
      </pc:docMkLst>
      <pc:sldChg chg="modSp">
        <pc:chgData name="Chandramouli, Devaki (Nokia - US/Dallas)" userId="ebf2a9f8-651b-4485-926f-9d93c0eafbc5" providerId="ADAL" clId="{46F169D8-67E5-47E4-B5CE-A8A97D2B715B}" dt="2021-01-27T03:01:28.862" v="39" actId="20577"/>
        <pc:sldMkLst>
          <pc:docMk/>
          <pc:sldMk cId="0" sldId="303"/>
        </pc:sldMkLst>
        <pc:spChg chg="mod">
          <ac:chgData name="Chandramouli, Devaki (Nokia - US/Dallas)" userId="ebf2a9f8-651b-4485-926f-9d93c0eafbc5" providerId="ADAL" clId="{46F169D8-67E5-47E4-B5CE-A8A97D2B715B}" dt="2021-01-27T03:01:28.862" v="39" actId="20577"/>
          <ac:spMkLst>
            <pc:docMk/>
            <pc:sldMk cId="0" sldId="303"/>
            <ac:spMk id="4" creationId="{2F059774-627B-4415-8FE0-0AEA0AE8D966}"/>
          </ac:spMkLst>
        </pc:spChg>
        <pc:spChg chg="mod">
          <ac:chgData name="Chandramouli, Devaki (Nokia - US/Dallas)" userId="ebf2a9f8-651b-4485-926f-9d93c0eafbc5" providerId="ADAL" clId="{46F169D8-67E5-47E4-B5CE-A8A97D2B715B}" dt="2021-01-27T03:01:23.308" v="34" actId="20577"/>
          <ac:spMkLst>
            <pc:docMk/>
            <pc:sldMk cId="0" sldId="303"/>
            <ac:spMk id="9219" creationId="{00000000-0000-0000-0000-000000000000}"/>
          </ac:spMkLst>
        </pc:spChg>
      </pc:sldChg>
      <pc:sldChg chg="del">
        <pc:chgData name="Chandramouli, Devaki (Nokia - US/Dallas)" userId="ebf2a9f8-651b-4485-926f-9d93c0eafbc5" providerId="ADAL" clId="{46F169D8-67E5-47E4-B5CE-A8A97D2B715B}" dt="2021-01-27T03:01:47.406" v="40" actId="2696"/>
        <pc:sldMkLst>
          <pc:docMk/>
          <pc:sldMk cId="2423298358" sldId="732"/>
        </pc:sldMkLst>
      </pc:sldChg>
      <pc:sldMasterChg chg="modSldLayout">
        <pc:chgData name="Chandramouli, Devaki (Nokia - US/Dallas)" userId="ebf2a9f8-651b-4485-926f-9d93c0eafbc5" providerId="ADAL" clId="{46F169D8-67E5-47E4-B5CE-A8A97D2B715B}" dt="2021-01-27T03:00:45.155" v="14" actId="20577"/>
        <pc:sldMasterMkLst>
          <pc:docMk/>
          <pc:sldMasterMk cId="0" sldId="2147483729"/>
        </pc:sldMasterMkLst>
        <pc:sldLayoutChg chg="modSp">
          <pc:chgData name="Chandramouli, Devaki (Nokia - US/Dallas)" userId="ebf2a9f8-651b-4485-926f-9d93c0eafbc5" providerId="ADAL" clId="{46F169D8-67E5-47E4-B5CE-A8A97D2B715B}" dt="2021-01-27T03:00:45.155" v="14" actId="20577"/>
          <pc:sldLayoutMkLst>
            <pc:docMk/>
            <pc:sldMasterMk cId="0" sldId="2147483729"/>
            <pc:sldLayoutMk cId="0" sldId="2147483746"/>
          </pc:sldLayoutMkLst>
          <pc:spChg chg="mod">
            <ac:chgData name="Chandramouli, Devaki (Nokia - US/Dallas)" userId="ebf2a9f8-651b-4485-926f-9d93c0eafbc5" providerId="ADAL" clId="{46F169D8-67E5-47E4-B5CE-A8A97D2B715B}" dt="2021-01-27T03:00:45.155" v="14" actId="20577"/>
            <ac:spMkLst>
              <pc:docMk/>
              <pc:sldMasterMk cId="0" sldId="2147483729"/>
              <pc:sldLayoutMk cId="0" sldId="2147483746"/>
              <ac:spMk id="4" creationId="{00000000-0000-0000-0000-000000000000}"/>
            </ac:spMkLst>
          </pc:spChg>
        </pc:sldLayoutChg>
      </pc:sldMasterChg>
    </pc:docChg>
  </pc:docChgLst>
  <pc:docChgLst>
    <pc:chgData name="Chandramouli, Devaki (Nokia - US/Dallas)" userId="ebf2a9f8-651b-4485-926f-9d93c0eafbc5" providerId="ADAL" clId="{52CE3A92-5BC4-483D-BD3E-8021D91856F6}"/>
    <pc:docChg chg="undo custSel addSld modSld sldOrd">
      <pc:chgData name="Chandramouli, Devaki (Nokia - US/Dallas)" userId="ebf2a9f8-651b-4485-926f-9d93c0eafbc5" providerId="ADAL" clId="{52CE3A92-5BC4-483D-BD3E-8021D91856F6}" dt="2020-10-21T00:37:50.783" v="545" actId="113"/>
      <pc:docMkLst>
        <pc:docMk/>
      </pc:docMkLst>
      <pc:sldChg chg="addSp delSp modSp">
        <pc:chgData name="Chandramouli, Devaki (Nokia - US/Dallas)" userId="ebf2a9f8-651b-4485-926f-9d93c0eafbc5" providerId="ADAL" clId="{52CE3A92-5BC4-483D-BD3E-8021D91856F6}" dt="2020-10-21T00:34:35.619" v="493" actId="20577"/>
        <pc:sldMkLst>
          <pc:docMk/>
          <pc:sldMk cId="0" sldId="303"/>
        </pc:sldMkLst>
        <pc:spChg chg="add del mod">
          <ac:chgData name="Chandramouli, Devaki (Nokia - US/Dallas)" userId="ebf2a9f8-651b-4485-926f-9d93c0eafbc5" providerId="ADAL" clId="{52CE3A92-5BC4-483D-BD3E-8021D91856F6}" dt="2020-10-21T00:32:39.058" v="428" actId="478"/>
          <ac:spMkLst>
            <pc:docMk/>
            <pc:sldMk cId="0" sldId="303"/>
            <ac:spMk id="3" creationId="{575DB2EE-4359-4B94-B9FC-71DBEB948F50}"/>
          </ac:spMkLst>
        </pc:spChg>
        <pc:spChg chg="add mod">
          <ac:chgData name="Chandramouli, Devaki (Nokia - US/Dallas)" userId="ebf2a9f8-651b-4485-926f-9d93c0eafbc5" providerId="ADAL" clId="{52CE3A92-5BC4-483D-BD3E-8021D91856F6}" dt="2020-10-21T00:33:18.725" v="475" actId="20577"/>
          <ac:spMkLst>
            <pc:docMk/>
            <pc:sldMk cId="0" sldId="303"/>
            <ac:spMk id="4" creationId="{2F059774-627B-4415-8FE0-0AEA0AE8D966}"/>
          </ac:spMkLst>
        </pc:spChg>
        <pc:spChg chg="del mod">
          <ac:chgData name="Chandramouli, Devaki (Nokia - US/Dallas)" userId="ebf2a9f8-651b-4485-926f-9d93c0eafbc5" providerId="ADAL" clId="{52CE3A92-5BC4-483D-BD3E-8021D91856F6}" dt="2020-10-21T00:32:36.521" v="427" actId="478"/>
          <ac:spMkLst>
            <pc:docMk/>
            <pc:sldMk cId="0" sldId="303"/>
            <ac:spMk id="4099" creationId="{00000000-0000-0000-0000-000000000000}"/>
          </ac:spMkLst>
        </pc:spChg>
        <pc:spChg chg="mod">
          <ac:chgData name="Chandramouli, Devaki (Nokia - US/Dallas)" userId="ebf2a9f8-651b-4485-926f-9d93c0eafbc5" providerId="ADAL" clId="{52CE3A92-5BC4-483D-BD3E-8021D91856F6}" dt="2020-10-21T00:34:35.619" v="493" actId="20577"/>
          <ac:spMkLst>
            <pc:docMk/>
            <pc:sldMk cId="0" sldId="303"/>
            <ac:spMk id="9219" creationId="{00000000-0000-0000-0000-000000000000}"/>
          </ac:spMkLst>
        </pc:spChg>
      </pc:sldChg>
      <pc:sldChg chg="ord">
        <pc:chgData name="Chandramouli, Devaki (Nokia - US/Dallas)" userId="ebf2a9f8-651b-4485-926f-9d93c0eafbc5" providerId="ADAL" clId="{52CE3A92-5BC4-483D-BD3E-8021D91856F6}" dt="2020-10-20T22:53:51.210" v="48"/>
        <pc:sldMkLst>
          <pc:docMk/>
          <pc:sldMk cId="166559788" sldId="727"/>
        </pc:sldMkLst>
      </pc:sldChg>
      <pc:sldChg chg="modSp modNotesTx">
        <pc:chgData name="Chandramouli, Devaki (Nokia - US/Dallas)" userId="ebf2a9f8-651b-4485-926f-9d93c0eafbc5" providerId="ADAL" clId="{52CE3A92-5BC4-483D-BD3E-8021D91856F6}" dt="2020-10-21T00:37:50.783" v="545" actId="113"/>
        <pc:sldMkLst>
          <pc:docMk/>
          <pc:sldMk cId="3935128638" sldId="729"/>
        </pc:sldMkLst>
        <pc:spChg chg="mod">
          <ac:chgData name="Chandramouli, Devaki (Nokia - US/Dallas)" userId="ebf2a9f8-651b-4485-926f-9d93c0eafbc5" providerId="ADAL" clId="{52CE3A92-5BC4-483D-BD3E-8021D91856F6}" dt="2020-10-21T00:37:50.783" v="545" actId="113"/>
          <ac:spMkLst>
            <pc:docMk/>
            <pc:sldMk cId="3935128638" sldId="729"/>
            <ac:spMk id="3" creationId="{6589258C-F3B0-4661-9461-6BE5C76AD563}"/>
          </ac:spMkLst>
        </pc:spChg>
      </pc:sldChg>
      <pc:sldChg chg="ord">
        <pc:chgData name="Chandramouli, Devaki (Nokia - US/Dallas)" userId="ebf2a9f8-651b-4485-926f-9d93c0eafbc5" providerId="ADAL" clId="{52CE3A92-5BC4-483D-BD3E-8021D91856F6}" dt="2020-10-20T22:53:43.948" v="46"/>
        <pc:sldMkLst>
          <pc:docMk/>
          <pc:sldMk cId="2766912134" sldId="732"/>
        </pc:sldMkLst>
      </pc:sldChg>
      <pc:sldChg chg="ord">
        <pc:chgData name="Chandramouli, Devaki (Nokia - US/Dallas)" userId="ebf2a9f8-651b-4485-926f-9d93c0eafbc5" providerId="ADAL" clId="{52CE3A92-5BC4-483D-BD3E-8021D91856F6}" dt="2020-10-20T22:53:46.624" v="47"/>
        <pc:sldMkLst>
          <pc:docMk/>
          <pc:sldMk cId="1163656122" sldId="733"/>
        </pc:sldMkLst>
      </pc:sldChg>
      <pc:sldChg chg="modSp">
        <pc:chgData name="Chandramouli, Devaki (Nokia - US/Dallas)" userId="ebf2a9f8-651b-4485-926f-9d93c0eafbc5" providerId="ADAL" clId="{52CE3A92-5BC4-483D-BD3E-8021D91856F6}" dt="2020-10-21T00:36:45.671" v="527" actId="20577"/>
        <pc:sldMkLst>
          <pc:docMk/>
          <pc:sldMk cId="3821184932" sldId="734"/>
        </pc:sldMkLst>
        <pc:spChg chg="mod">
          <ac:chgData name="Chandramouli, Devaki (Nokia - US/Dallas)" userId="ebf2a9f8-651b-4485-926f-9d93c0eafbc5" providerId="ADAL" clId="{52CE3A92-5BC4-483D-BD3E-8021D91856F6}" dt="2020-10-21T00:36:45.671" v="527" actId="20577"/>
          <ac:spMkLst>
            <pc:docMk/>
            <pc:sldMk cId="3821184932" sldId="734"/>
            <ac:spMk id="3" creationId="{D6578126-592B-44F1-83F1-2FD85F73B618}"/>
          </ac:spMkLst>
        </pc:spChg>
      </pc:sldChg>
      <pc:sldChg chg="ord">
        <pc:chgData name="Chandramouli, Devaki (Nokia - US/Dallas)" userId="ebf2a9f8-651b-4485-926f-9d93c0eafbc5" providerId="ADAL" clId="{52CE3A92-5BC4-483D-BD3E-8021D91856F6}" dt="2020-10-20T22:53:55.985" v="49"/>
        <pc:sldMkLst>
          <pc:docMk/>
          <pc:sldMk cId="2389231241" sldId="735"/>
        </pc:sldMkLst>
      </pc:sldChg>
      <pc:sldChg chg="ord">
        <pc:chgData name="Chandramouli, Devaki (Nokia - US/Dallas)" userId="ebf2a9f8-651b-4485-926f-9d93c0eafbc5" providerId="ADAL" clId="{52CE3A92-5BC4-483D-BD3E-8021D91856F6}" dt="2020-10-20T22:59:07.652" v="50"/>
        <pc:sldMkLst>
          <pc:docMk/>
          <pc:sldMk cId="3564273904" sldId="736"/>
        </pc:sldMkLst>
      </pc:sldChg>
      <pc:sldChg chg="modSp add">
        <pc:chgData name="Chandramouli, Devaki (Nokia - US/Dallas)" userId="ebf2a9f8-651b-4485-926f-9d93c0eafbc5" providerId="ADAL" clId="{52CE3A92-5BC4-483D-BD3E-8021D91856F6}" dt="2020-10-20T22:53:28.051" v="45" actId="20577"/>
        <pc:sldMkLst>
          <pc:docMk/>
          <pc:sldMk cId="3263627245" sldId="737"/>
        </pc:sldMkLst>
        <pc:spChg chg="mod">
          <ac:chgData name="Chandramouli, Devaki (Nokia - US/Dallas)" userId="ebf2a9f8-651b-4485-926f-9d93c0eafbc5" providerId="ADAL" clId="{52CE3A92-5BC4-483D-BD3E-8021D91856F6}" dt="2020-10-20T22:53:28.051" v="45" actId="20577"/>
          <ac:spMkLst>
            <pc:docMk/>
            <pc:sldMk cId="3263627245" sldId="737"/>
            <ac:spMk id="2" creationId="{0E9EA16A-64C1-4092-8031-0E3150E824BA}"/>
          </ac:spMkLst>
        </pc:spChg>
      </pc:sldChg>
    </pc:docChg>
  </pc:docChgLst>
  <pc:docChgLst>
    <pc:chgData name="Chandramouli, Devaki (Nokia - US/Dallas)" userId="ebf2a9f8-651b-4485-926f-9d93c0eafbc5" providerId="ADAL" clId="{9CDB533B-A5DE-4B58-9587-DE7A47B1B73A}"/>
    <pc:docChg chg="undo custSel addSld delSld modSld sldOrd modMainMaster">
      <pc:chgData name="Chandramouli, Devaki (Nokia - US/Dallas)" userId="ebf2a9f8-651b-4485-926f-9d93c0eafbc5" providerId="ADAL" clId="{9CDB533B-A5DE-4B58-9587-DE7A47B1B73A}" dt="2020-11-20T12:37:41.516" v="1351" actId="20577"/>
      <pc:docMkLst>
        <pc:docMk/>
      </pc:docMkLst>
      <pc:sldChg chg="modSp">
        <pc:chgData name="Chandramouli, Devaki (Nokia - US/Dallas)" userId="ebf2a9f8-651b-4485-926f-9d93c0eafbc5" providerId="ADAL" clId="{9CDB533B-A5DE-4B58-9587-DE7A47B1B73A}" dt="2020-11-20T00:17:34.700" v="854" actId="20577"/>
        <pc:sldMkLst>
          <pc:docMk/>
          <pc:sldMk cId="0" sldId="303"/>
        </pc:sldMkLst>
        <pc:spChg chg="mod">
          <ac:chgData name="Chandramouli, Devaki (Nokia - US/Dallas)" userId="ebf2a9f8-651b-4485-926f-9d93c0eafbc5" providerId="ADAL" clId="{9CDB533B-A5DE-4B58-9587-DE7A47B1B73A}" dt="2020-11-20T00:17:34.700" v="854" actId="20577"/>
          <ac:spMkLst>
            <pc:docMk/>
            <pc:sldMk cId="0" sldId="303"/>
            <ac:spMk id="9219" creationId="{00000000-0000-0000-0000-000000000000}"/>
          </ac:spMkLst>
        </pc:spChg>
      </pc:sldChg>
      <pc:sldChg chg="modSp modNotesTx">
        <pc:chgData name="Chandramouli, Devaki (Nokia - US/Dallas)" userId="ebf2a9f8-651b-4485-926f-9d93c0eafbc5" providerId="ADAL" clId="{9CDB533B-A5DE-4B58-9587-DE7A47B1B73A}" dt="2020-11-20T12:37:41.516" v="1351" actId="20577"/>
        <pc:sldMkLst>
          <pc:docMk/>
          <pc:sldMk cId="3935128638" sldId="729"/>
        </pc:sldMkLst>
        <pc:spChg chg="mod">
          <ac:chgData name="Chandramouli, Devaki (Nokia - US/Dallas)" userId="ebf2a9f8-651b-4485-926f-9d93c0eafbc5" providerId="ADAL" clId="{9CDB533B-A5DE-4B58-9587-DE7A47B1B73A}" dt="2020-11-20T12:37:41.516" v="1351" actId="20577"/>
          <ac:spMkLst>
            <pc:docMk/>
            <pc:sldMk cId="3935128638" sldId="729"/>
            <ac:spMk id="3" creationId="{6589258C-F3B0-4661-9461-6BE5C76AD563}"/>
          </ac:spMkLst>
        </pc:spChg>
      </pc:sldChg>
      <pc:sldChg chg="modSp add ord modNotesTx">
        <pc:chgData name="Chandramouli, Devaki (Nokia - US/Dallas)" userId="ebf2a9f8-651b-4485-926f-9d93c0eafbc5" providerId="ADAL" clId="{9CDB533B-A5DE-4B58-9587-DE7A47B1B73A}" dt="2020-11-20T10:19:38.550" v="1321" actId="108"/>
        <pc:sldMkLst>
          <pc:docMk/>
          <pc:sldMk cId="4216920542" sldId="730"/>
        </pc:sldMkLst>
        <pc:spChg chg="mod">
          <ac:chgData name="Chandramouli, Devaki (Nokia - US/Dallas)" userId="ebf2a9f8-651b-4485-926f-9d93c0eafbc5" providerId="ADAL" clId="{9CDB533B-A5DE-4B58-9587-DE7A47B1B73A}" dt="2020-11-19T23:49:55.738" v="57" actId="20577"/>
          <ac:spMkLst>
            <pc:docMk/>
            <pc:sldMk cId="4216920542" sldId="730"/>
            <ac:spMk id="2" creationId="{67C25683-A7FB-4D8F-AF7D-D0F012760FBF}"/>
          </ac:spMkLst>
        </pc:spChg>
        <pc:spChg chg="mod">
          <ac:chgData name="Chandramouli, Devaki (Nokia - US/Dallas)" userId="ebf2a9f8-651b-4485-926f-9d93c0eafbc5" providerId="ADAL" clId="{9CDB533B-A5DE-4B58-9587-DE7A47B1B73A}" dt="2020-11-20T10:19:38.550" v="1321" actId="108"/>
          <ac:spMkLst>
            <pc:docMk/>
            <pc:sldMk cId="4216920542" sldId="730"/>
            <ac:spMk id="3" creationId="{6589258C-F3B0-4661-9461-6BE5C76AD563}"/>
          </ac:spMkLst>
        </pc:spChg>
      </pc:sldChg>
      <pc:sldChg chg="modSp add">
        <pc:chgData name="Chandramouli, Devaki (Nokia - US/Dallas)" userId="ebf2a9f8-651b-4485-926f-9d93c0eafbc5" providerId="ADAL" clId="{9CDB533B-A5DE-4B58-9587-DE7A47B1B73A}" dt="2020-11-20T10:19:28.596" v="1320" actId="108"/>
        <pc:sldMkLst>
          <pc:docMk/>
          <pc:sldMk cId="1222555270" sldId="731"/>
        </pc:sldMkLst>
        <pc:spChg chg="mod">
          <ac:chgData name="Chandramouli, Devaki (Nokia - US/Dallas)" userId="ebf2a9f8-651b-4485-926f-9d93c0eafbc5" providerId="ADAL" clId="{9CDB533B-A5DE-4B58-9587-DE7A47B1B73A}" dt="2020-11-20T10:19:28.596" v="1320" actId="108"/>
          <ac:spMkLst>
            <pc:docMk/>
            <pc:sldMk cId="1222555270" sldId="731"/>
            <ac:spMk id="3" creationId="{6589258C-F3B0-4661-9461-6BE5C76AD563}"/>
          </ac:spMkLst>
        </pc:spChg>
      </pc:sldChg>
      <pc:sldChg chg="modSp add">
        <pc:chgData name="Chandramouli, Devaki (Nokia - US/Dallas)" userId="ebf2a9f8-651b-4485-926f-9d93c0eafbc5" providerId="ADAL" clId="{9CDB533B-A5DE-4B58-9587-DE7A47B1B73A}" dt="2020-11-20T00:19:59.418" v="934" actId="20577"/>
        <pc:sldMkLst>
          <pc:docMk/>
          <pc:sldMk cId="2423298358" sldId="732"/>
        </pc:sldMkLst>
        <pc:spChg chg="mod">
          <ac:chgData name="Chandramouli, Devaki (Nokia - US/Dallas)" userId="ebf2a9f8-651b-4485-926f-9d93c0eafbc5" providerId="ADAL" clId="{9CDB533B-A5DE-4B58-9587-DE7A47B1B73A}" dt="2020-11-20T00:19:59.418" v="934" actId="20577"/>
          <ac:spMkLst>
            <pc:docMk/>
            <pc:sldMk cId="2423298358" sldId="732"/>
            <ac:spMk id="3" creationId="{6589258C-F3B0-4661-9461-6BE5C76AD563}"/>
          </ac:spMkLst>
        </pc:spChg>
      </pc:sldChg>
      <pc:sldChg chg="modSp add del modNotesTx">
        <pc:chgData name="Chandramouli, Devaki (Nokia - US/Dallas)" userId="ebf2a9f8-651b-4485-926f-9d93c0eafbc5" providerId="ADAL" clId="{9CDB533B-A5DE-4B58-9587-DE7A47B1B73A}" dt="2020-11-20T07:56:41.920" v="945" actId="2696"/>
        <pc:sldMkLst>
          <pc:docMk/>
          <pc:sldMk cId="753187980" sldId="733"/>
        </pc:sldMkLst>
        <pc:spChg chg="mod">
          <ac:chgData name="Chandramouli, Devaki (Nokia - US/Dallas)" userId="ebf2a9f8-651b-4485-926f-9d93c0eafbc5" providerId="ADAL" clId="{9CDB533B-A5DE-4B58-9587-DE7A47B1B73A}" dt="2020-11-20T00:16:08.811" v="716" actId="20577"/>
          <ac:spMkLst>
            <pc:docMk/>
            <pc:sldMk cId="753187980" sldId="733"/>
            <ac:spMk id="2" creationId="{67C25683-A7FB-4D8F-AF7D-D0F012760FBF}"/>
          </ac:spMkLst>
        </pc:spChg>
        <pc:spChg chg="mod">
          <ac:chgData name="Chandramouli, Devaki (Nokia - US/Dallas)" userId="ebf2a9f8-651b-4485-926f-9d93c0eafbc5" providerId="ADAL" clId="{9CDB533B-A5DE-4B58-9587-DE7A47B1B73A}" dt="2020-11-20T00:19:39.627" v="891" actId="20577"/>
          <ac:spMkLst>
            <pc:docMk/>
            <pc:sldMk cId="753187980" sldId="733"/>
            <ac:spMk id="3" creationId="{6589258C-F3B0-4661-9461-6BE5C76AD563}"/>
          </ac:spMkLst>
        </pc:spChg>
      </pc:sldChg>
      <pc:sldChg chg="modSp add ord">
        <pc:chgData name="Chandramouli, Devaki (Nokia - US/Dallas)" userId="ebf2a9f8-651b-4485-926f-9d93c0eafbc5" providerId="ADAL" clId="{9CDB533B-A5DE-4B58-9587-DE7A47B1B73A}" dt="2020-11-20T10:17:04.916" v="1316" actId="20577"/>
        <pc:sldMkLst>
          <pc:docMk/>
          <pc:sldMk cId="2339896579" sldId="733"/>
        </pc:sldMkLst>
        <pc:spChg chg="mod">
          <ac:chgData name="Chandramouli, Devaki (Nokia - US/Dallas)" userId="ebf2a9f8-651b-4485-926f-9d93c0eafbc5" providerId="ADAL" clId="{9CDB533B-A5DE-4B58-9587-DE7A47B1B73A}" dt="2020-11-20T10:17:04.916" v="1316" actId="20577"/>
          <ac:spMkLst>
            <pc:docMk/>
            <pc:sldMk cId="2339896579" sldId="733"/>
            <ac:spMk id="2" creationId="{A57AD3B0-04DD-4505-843C-28FF736CD1C9}"/>
          </ac:spMkLst>
        </pc:spChg>
        <pc:spChg chg="mod">
          <ac:chgData name="Chandramouli, Devaki (Nokia - US/Dallas)" userId="ebf2a9f8-651b-4485-926f-9d93c0eafbc5" providerId="ADAL" clId="{9CDB533B-A5DE-4B58-9587-DE7A47B1B73A}" dt="2020-11-20T09:47:31.485" v="1056" actId="207"/>
          <ac:spMkLst>
            <pc:docMk/>
            <pc:sldMk cId="2339896579" sldId="733"/>
            <ac:spMk id="3" creationId="{712C7B6D-3BC2-4F61-BC72-19302DA94E38}"/>
          </ac:spMkLst>
        </pc:spChg>
      </pc:sldChg>
      <pc:sldChg chg="del">
        <pc:chgData name="Chandramouli, Devaki (Nokia - US/Dallas)" userId="ebf2a9f8-651b-4485-926f-9d93c0eafbc5" providerId="ADAL" clId="{9CDB533B-A5DE-4B58-9587-DE7A47B1B73A}" dt="2020-11-19T23:48:14.195" v="19" actId="2696"/>
        <pc:sldMkLst>
          <pc:docMk/>
          <pc:sldMk cId="3821184932" sldId="734"/>
        </pc:sldMkLst>
      </pc:sldChg>
      <pc:sldMasterChg chg="modSldLayout">
        <pc:chgData name="Chandramouli, Devaki (Nokia - US/Dallas)" userId="ebf2a9f8-651b-4485-926f-9d93c0eafbc5" providerId="ADAL" clId="{9CDB533B-A5DE-4B58-9587-DE7A47B1B73A}" dt="2020-11-19T23:48:00.566" v="18" actId="20577"/>
        <pc:sldMasterMkLst>
          <pc:docMk/>
          <pc:sldMasterMk cId="0" sldId="2147483729"/>
        </pc:sldMasterMkLst>
        <pc:sldLayoutChg chg="modSp">
          <pc:chgData name="Chandramouli, Devaki (Nokia - US/Dallas)" userId="ebf2a9f8-651b-4485-926f-9d93c0eafbc5" providerId="ADAL" clId="{9CDB533B-A5DE-4B58-9587-DE7A47B1B73A}" dt="2020-11-19T23:48:00.566" v="18" actId="20577"/>
          <pc:sldLayoutMkLst>
            <pc:docMk/>
            <pc:sldMasterMk cId="0" sldId="2147483729"/>
            <pc:sldLayoutMk cId="0" sldId="2147483746"/>
          </pc:sldLayoutMkLst>
          <pc:spChg chg="mod">
            <ac:chgData name="Chandramouli, Devaki (Nokia - US/Dallas)" userId="ebf2a9f8-651b-4485-926f-9d93c0eafbc5" providerId="ADAL" clId="{9CDB533B-A5DE-4B58-9587-DE7A47B1B73A}" dt="2020-11-19T23:48:00.566" v="18" actId="20577"/>
            <ac:spMkLst>
              <pc:docMk/>
              <pc:sldMasterMk cId="0" sldId="2147483729"/>
              <pc:sldLayoutMk cId="0" sldId="2147483746"/>
              <ac:spMk id="4" creationId="{00000000-0000-0000-0000-000000000000}"/>
            </ac:spMkLst>
          </pc:spChg>
        </pc:sldLayoutChg>
      </pc:sldMasterChg>
    </pc:docChg>
  </pc:docChgLst>
  <pc:docChgLst>
    <pc:chgData name="Chandramouli, Devaki (Nokia - US/Dallas)" userId="ebf2a9f8-651b-4485-926f-9d93c0eafbc5" providerId="ADAL" clId="{38558A35-9BC1-47BE-B184-6189BBAE6586}"/>
    <pc:docChg chg="delSld">
      <pc:chgData name="Chandramouli, Devaki (Nokia - US/Dallas)" userId="ebf2a9f8-651b-4485-926f-9d93c0eafbc5" providerId="ADAL" clId="{38558A35-9BC1-47BE-B184-6189BBAE6586}" dt="2020-10-21T04:06:57.216" v="5" actId="2696"/>
      <pc:docMkLst>
        <pc:docMk/>
      </pc:docMkLst>
      <pc:sldChg chg="del">
        <pc:chgData name="Chandramouli, Devaki (Nokia - US/Dallas)" userId="ebf2a9f8-651b-4485-926f-9d93c0eafbc5" providerId="ADAL" clId="{38558A35-9BC1-47BE-B184-6189BBAE6586}" dt="2020-10-21T04:06:57.185" v="3" actId="2696"/>
        <pc:sldMkLst>
          <pc:docMk/>
          <pc:sldMk cId="166559788" sldId="727"/>
        </pc:sldMkLst>
      </pc:sldChg>
      <pc:sldChg chg="del">
        <pc:chgData name="Chandramouli, Devaki (Nokia - US/Dallas)" userId="ebf2a9f8-651b-4485-926f-9d93c0eafbc5" providerId="ADAL" clId="{38558A35-9BC1-47BE-B184-6189BBAE6586}" dt="2020-10-21T04:06:57.138" v="1" actId="2696"/>
        <pc:sldMkLst>
          <pc:docMk/>
          <pc:sldMk cId="2766912134" sldId="732"/>
        </pc:sldMkLst>
      </pc:sldChg>
      <pc:sldChg chg="del">
        <pc:chgData name="Chandramouli, Devaki (Nokia - US/Dallas)" userId="ebf2a9f8-651b-4485-926f-9d93c0eafbc5" providerId="ADAL" clId="{38558A35-9BC1-47BE-B184-6189BBAE6586}" dt="2020-10-21T04:06:57.169" v="2" actId="2696"/>
        <pc:sldMkLst>
          <pc:docMk/>
          <pc:sldMk cId="1163656122" sldId="733"/>
        </pc:sldMkLst>
      </pc:sldChg>
      <pc:sldChg chg="del">
        <pc:chgData name="Chandramouli, Devaki (Nokia - US/Dallas)" userId="ebf2a9f8-651b-4485-926f-9d93c0eafbc5" providerId="ADAL" clId="{38558A35-9BC1-47BE-B184-6189BBAE6586}" dt="2020-10-21T04:06:57.200" v="4" actId="2696"/>
        <pc:sldMkLst>
          <pc:docMk/>
          <pc:sldMk cId="2389231241" sldId="735"/>
        </pc:sldMkLst>
      </pc:sldChg>
      <pc:sldChg chg="del">
        <pc:chgData name="Chandramouli, Devaki (Nokia - US/Dallas)" userId="ebf2a9f8-651b-4485-926f-9d93c0eafbc5" providerId="ADAL" clId="{38558A35-9BC1-47BE-B184-6189BBAE6586}" dt="2020-10-21T04:06:57.216" v="5" actId="2696"/>
        <pc:sldMkLst>
          <pc:docMk/>
          <pc:sldMk cId="3564273904" sldId="736"/>
        </pc:sldMkLst>
      </pc:sldChg>
      <pc:sldChg chg="del">
        <pc:chgData name="Chandramouli, Devaki (Nokia - US/Dallas)" userId="ebf2a9f8-651b-4485-926f-9d93c0eafbc5" providerId="ADAL" clId="{38558A35-9BC1-47BE-B184-6189BBAE6586}" dt="2020-10-21T04:06:57.131" v="0" actId="2696"/>
        <pc:sldMkLst>
          <pc:docMk/>
          <pc:sldMk cId="3263627245" sldId="737"/>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9219" name="Rectangle 3"/>
          <p:cNvSpPr>
            <a:spLocks noGrp="1" noChangeArrowheads="1"/>
          </p:cNvSpPr>
          <p:nvPr>
            <p:ph type="dt" sz="quarter" idx="1"/>
          </p:nvPr>
        </p:nvSpPr>
        <p:spPr bwMode="auto">
          <a:xfrm>
            <a:off x="3851275"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algn="r" defTabSz="930275" eaLnBrk="1" hangingPunct="1">
              <a:defRPr sz="1200">
                <a:latin typeface="Times New Roman" pitchFamily="18" charset="0"/>
                <a:cs typeface="+mn-cs"/>
              </a:defRPr>
            </a:lvl1pPr>
          </a:lstStyle>
          <a:p>
            <a:pPr>
              <a:defRPr/>
            </a:pPr>
            <a:fld id="{2947778C-B3F3-4F7A-BB91-EB5F63B274A2}" type="datetime1">
              <a:rPr lang="en-US"/>
              <a:pPr>
                <a:defRPr/>
              </a:pPr>
              <a:t>1/26/2021</a:t>
            </a:fld>
            <a:endParaRPr lang="en-US" dirty="0"/>
          </a:p>
        </p:txBody>
      </p:sp>
      <p:sp>
        <p:nvSpPr>
          <p:cNvPr id="9220" name="Rectangle 4"/>
          <p:cNvSpPr>
            <a:spLocks noGrp="1" noChangeArrowheads="1"/>
          </p:cNvSpPr>
          <p:nvPr>
            <p:ph type="ftr" sz="quarter" idx="2"/>
          </p:nvPr>
        </p:nvSpPr>
        <p:spPr bwMode="auto">
          <a:xfrm>
            <a:off x="0"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9221" name="Rectangle 5"/>
          <p:cNvSpPr>
            <a:spLocks noGrp="1" noChangeArrowheads="1"/>
          </p:cNvSpPr>
          <p:nvPr>
            <p:ph type="sldNum" sz="quarter" idx="3"/>
          </p:nvPr>
        </p:nvSpPr>
        <p:spPr bwMode="auto">
          <a:xfrm>
            <a:off x="3851275"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algn="r" defTabSz="930275" eaLnBrk="1" hangingPunct="1">
              <a:defRPr sz="1200" smtClean="0">
                <a:latin typeface="Times New Roman" pitchFamily="18" charset="0"/>
              </a:defRPr>
            </a:lvl1pPr>
          </a:lstStyle>
          <a:p>
            <a:pPr>
              <a:defRPr/>
            </a:pPr>
            <a:fld id="{9A2E6ED2-3E23-4C28-8972-3DFEE8710EA4}" type="slidenum">
              <a:rPr lang="en-GB" altLang="en-US"/>
              <a:pPr>
                <a:defRPr/>
              </a:pPr>
              <a:t>‹#›</a:t>
            </a:fld>
            <a:endParaRPr lang="en-GB" altLang="en-US"/>
          </a:p>
        </p:txBody>
      </p:sp>
    </p:spTree>
    <p:extLst>
      <p:ext uri="{BB962C8B-B14F-4D97-AF65-F5344CB8AC3E}">
        <p14:creationId xmlns:p14="http://schemas.microsoft.com/office/powerpoint/2010/main" val="2150198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4099"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algn="r" defTabSz="930275" eaLnBrk="1" hangingPunct="1">
              <a:defRPr sz="1200">
                <a:latin typeface="Times New Roman" pitchFamily="18" charset="0"/>
                <a:cs typeface="+mn-cs"/>
              </a:defRPr>
            </a:lvl1pPr>
          </a:lstStyle>
          <a:p>
            <a:pPr>
              <a:defRPr/>
            </a:pPr>
            <a:fld id="{4ADFB8CB-F854-47F2-9DE9-2171C7CFA03A}" type="datetime1">
              <a:rPr lang="en-US"/>
              <a:pPr>
                <a:defRPr/>
              </a:pPr>
              <a:t>1/26/2021</a:t>
            </a:fld>
            <a:endParaRPr lang="en-US" dirty="0"/>
          </a:p>
        </p:txBody>
      </p:sp>
      <p:sp>
        <p:nvSpPr>
          <p:cNvPr id="9220" name="Rectangle 4"/>
          <p:cNvSpPr>
            <a:spLocks noGrp="1" noRot="1" noChangeAspect="1" noChangeArrowheads="1" noTextEdit="1"/>
          </p:cNvSpPr>
          <p:nvPr>
            <p:ph type="sldImg" idx="2"/>
          </p:nvPr>
        </p:nvSpPr>
        <p:spPr bwMode="auto">
          <a:xfrm>
            <a:off x="915988" y="742950"/>
            <a:ext cx="4965700" cy="3724275"/>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06463" y="4716463"/>
            <a:ext cx="4984750" cy="4468812"/>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102" name="Rectangle 6"/>
          <p:cNvSpPr>
            <a:spLocks noGrp="1" noChangeArrowheads="1"/>
          </p:cNvSpPr>
          <p:nvPr>
            <p:ph type="ftr" sz="quarter" idx="4"/>
          </p:nvPr>
        </p:nvSpPr>
        <p:spPr bwMode="auto">
          <a:xfrm>
            <a:off x="0"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4103" name="Rectangle 7"/>
          <p:cNvSpPr>
            <a:spLocks noGrp="1" noChangeArrowheads="1"/>
          </p:cNvSpPr>
          <p:nvPr>
            <p:ph type="sldNum" sz="quarter" idx="5"/>
          </p:nvPr>
        </p:nvSpPr>
        <p:spPr bwMode="auto">
          <a:xfrm>
            <a:off x="3851275"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algn="r" defTabSz="930275" eaLnBrk="1" hangingPunct="1">
              <a:defRPr sz="1200" smtClean="0">
                <a:latin typeface="Times New Roman" pitchFamily="18" charset="0"/>
              </a:defRPr>
            </a:lvl1pPr>
          </a:lstStyle>
          <a:p>
            <a:pPr>
              <a:defRPr/>
            </a:pPr>
            <a:fld id="{1FA72314-C842-479C-B40D-6B35198B29F6}" type="slidenum">
              <a:rPr lang="en-GB" altLang="en-US"/>
              <a:pPr>
                <a:defRPr/>
              </a:pPr>
              <a:t>‹#›</a:t>
            </a:fld>
            <a:endParaRPr lang="en-GB" altLang="en-US"/>
          </a:p>
        </p:txBody>
      </p:sp>
    </p:spTree>
    <p:extLst>
      <p:ext uri="{BB962C8B-B14F-4D97-AF65-F5344CB8AC3E}">
        <p14:creationId xmlns:p14="http://schemas.microsoft.com/office/powerpoint/2010/main" val="46002044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p>
            <a:fld id="{A9B20BC9-C500-49C5-9C37-D50BBA60A0E0}" type="slidenum">
              <a:rPr lang="en-GB" altLang="en-US"/>
              <a:pPr/>
              <a:t>1</a:t>
            </a:fld>
            <a:endParaRPr lang="en-GB" altLang="en-US"/>
          </a:p>
        </p:txBody>
      </p:sp>
      <p:sp>
        <p:nvSpPr>
          <p:cNvPr id="10243" name="Rectangle 2"/>
          <p:cNvSpPr>
            <a:spLocks noGrp="1" noRot="1" noChangeAspect="1" noChangeArrowheads="1" noTextEdit="1"/>
          </p:cNvSpPr>
          <p:nvPr>
            <p:ph type="sldImg"/>
          </p:nvPr>
        </p:nvSpPr>
        <p:spPr>
          <a:xfrm>
            <a:off x="915988" y="742950"/>
            <a:ext cx="4967287" cy="3725863"/>
          </a:xfrm>
          <a:ln/>
        </p:spPr>
      </p:sp>
      <p:sp>
        <p:nvSpPr>
          <p:cNvPr id="10244" name="Rectangle 3"/>
          <p:cNvSpPr>
            <a:spLocks noGrp="1" noChangeArrowheads="1"/>
          </p:cNvSpPr>
          <p:nvPr>
            <p:ph type="body" idx="1"/>
          </p:nvPr>
        </p:nvSpPr>
        <p:spPr>
          <a:xfrm>
            <a:off x="904875" y="4718050"/>
            <a:ext cx="4987925" cy="4467225"/>
          </a:xfrm>
          <a:noFill/>
          <a:ln/>
        </p:spPr>
        <p:txBody>
          <a:bodyPr/>
          <a:lstStyle/>
          <a:p>
            <a:pPr eaLnBrk="1" hangingPunct="1"/>
            <a:endParaRPr lang="en-US" altLang="en-US" dirty="0"/>
          </a:p>
        </p:txBody>
      </p:sp>
    </p:spTree>
    <p:extLst>
      <p:ext uri="{BB962C8B-B14F-4D97-AF65-F5344CB8AC3E}">
        <p14:creationId xmlns:p14="http://schemas.microsoft.com/office/powerpoint/2010/main" val="112048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2</a:t>
            </a:fld>
            <a:endParaRPr lang="en-GB" altLang="en-US"/>
          </a:p>
        </p:txBody>
      </p:sp>
    </p:spTree>
    <p:extLst>
      <p:ext uri="{BB962C8B-B14F-4D97-AF65-F5344CB8AC3E}">
        <p14:creationId xmlns:p14="http://schemas.microsoft.com/office/powerpoint/2010/main" val="31745383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Times New Roman" pitchFamily="18" charset="0"/>
              <a:ea typeface="+mn-ea"/>
              <a:cs typeface="+mn-cs"/>
            </a:endParaRPr>
          </a:p>
          <a:p>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3</a:t>
            </a:fld>
            <a:endParaRPr lang="en-GB" altLang="en-US"/>
          </a:p>
        </p:txBody>
      </p:sp>
    </p:spTree>
    <p:extLst>
      <p:ext uri="{BB962C8B-B14F-4D97-AF65-F5344CB8AC3E}">
        <p14:creationId xmlns:p14="http://schemas.microsoft.com/office/powerpoint/2010/main" val="1583435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5</a:t>
            </a:fld>
            <a:endParaRPr lang="en-GB" altLang="en-US"/>
          </a:p>
        </p:txBody>
      </p:sp>
    </p:spTree>
    <p:extLst>
      <p:ext uri="{BB962C8B-B14F-4D97-AF65-F5344CB8AC3E}">
        <p14:creationId xmlns:p14="http://schemas.microsoft.com/office/powerpoint/2010/main" val="42700298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ext Box 14"/>
          <p:cNvSpPr txBox="1">
            <a:spLocks noChangeArrowheads="1"/>
          </p:cNvSpPr>
          <p:nvPr userDrawn="1"/>
        </p:nvSpPr>
        <p:spPr bwMode="auto">
          <a:xfrm>
            <a:off x="323850" y="73033"/>
            <a:ext cx="5810250" cy="461665"/>
          </a:xfrm>
          <a:prstGeom prst="rect">
            <a:avLst/>
          </a:prstGeom>
          <a:noFill/>
          <a:ln w="9525">
            <a:noFill/>
            <a:miter lim="800000"/>
            <a:headEnd/>
            <a:tailEnd/>
          </a:ln>
        </p:spPr>
        <p:txBody>
          <a:bodyPr>
            <a:spAutoFit/>
          </a:bodyPr>
          <a:lstStyle/>
          <a:p>
            <a:pPr eaLnBrk="1" hangingPunct="1">
              <a:defRPr/>
            </a:pPr>
            <a:r>
              <a:rPr lang="sv-SE" sz="1200" b="1" dirty="0">
                <a:latin typeface="Arial "/>
              </a:rPr>
              <a:t>3GPP TSG SA WG2#143E </a:t>
            </a:r>
          </a:p>
          <a:p>
            <a:pPr eaLnBrk="1" hangingPunct="1">
              <a:defRPr/>
            </a:pPr>
            <a:r>
              <a:rPr lang="sv-SE" sz="1200" b="1" dirty="0" err="1">
                <a:latin typeface="Arial "/>
              </a:rPr>
              <a:t>Elbonia</a:t>
            </a:r>
            <a:r>
              <a:rPr lang="sv-SE" sz="1200" b="1" dirty="0">
                <a:latin typeface="Arial "/>
              </a:rPr>
              <a:t> </a:t>
            </a:r>
            <a:r>
              <a:rPr lang="sv-SE" sz="1200" b="1" dirty="0" err="1">
                <a:latin typeface="Arial "/>
              </a:rPr>
              <a:t>xx-xx</a:t>
            </a:r>
            <a:r>
              <a:rPr lang="sv-SE" sz="1200" b="1" dirty="0">
                <a:latin typeface="Arial "/>
              </a:rPr>
              <a:t>, 2021</a:t>
            </a:r>
          </a:p>
        </p:txBody>
      </p:sp>
      <p:sp>
        <p:nvSpPr>
          <p:cNvPr id="2" name="Title 1"/>
          <p:cNvSpPr>
            <a:spLocks noGrp="1"/>
          </p:cNvSpPr>
          <p:nvPr>
            <p:ph type="ctrTitle"/>
          </p:nvPr>
        </p:nvSpPr>
        <p:spPr>
          <a:xfrm>
            <a:off x="685800" y="2130434"/>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endParaRPr lang="en-GB" dirty="0"/>
          </a:p>
        </p:txBody>
      </p:sp>
    </p:spTree>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p:nvPr>
        </p:nvSpPr>
        <p:spPr>
          <a:xfrm>
            <a:off x="418120" y="372332"/>
            <a:ext cx="8229600" cy="415719"/>
          </a:xfrm>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3" y="717056"/>
            <a:ext cx="8227649" cy="402167"/>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2" name="Title 1"/>
          <p:cNvSpPr>
            <a:spLocks noGrp="1"/>
          </p:cNvSpPr>
          <p:nvPr>
            <p:ph type="title"/>
          </p:nvPr>
        </p:nvSpPr>
        <p:spPr>
          <a:xfrm>
            <a:off x="418120" y="372332"/>
            <a:ext cx="8229600" cy="415719"/>
          </a:xfrm>
        </p:spPr>
        <p:txBody>
          <a:bodyPr/>
          <a:lstStyle>
            <a:lvl1pPr>
              <a:defRPr/>
            </a:lvl1pPr>
          </a:lstStyle>
          <a:p>
            <a:r>
              <a:rPr lang="en-US"/>
              <a:t>Click to edit Master title style</a:t>
            </a:r>
            <a:endParaRPr lang="en-US" dirty="0"/>
          </a:p>
        </p:txBody>
      </p:sp>
      <p:sp>
        <p:nvSpPr>
          <p:cNvPr id="8" name="Content Placeholder 8"/>
          <p:cNvSpPr>
            <a:spLocks noGrp="1"/>
          </p:cNvSpPr>
          <p:nvPr>
            <p:ph sz="quarter" idx="13"/>
          </p:nvPr>
        </p:nvSpPr>
        <p:spPr>
          <a:xfrm>
            <a:off x="418123" y="717056"/>
            <a:ext cx="8227649" cy="402167"/>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
        <p:nvSpPr>
          <p:cNvPr id="12" name="Text Placeholder 10"/>
          <p:cNvSpPr>
            <a:spLocks noGrp="1"/>
          </p:cNvSpPr>
          <p:nvPr>
            <p:ph type="body" sz="quarter" idx="16"/>
          </p:nvPr>
        </p:nvSpPr>
        <p:spPr>
          <a:xfrm>
            <a:off x="423863" y="1449917"/>
            <a:ext cx="4032250" cy="3393016"/>
          </a:xfrm>
        </p:spPr>
        <p:txBody>
          <a:bodyPr/>
          <a:lstStyle>
            <a:lvl1pPr marL="0" indent="0">
              <a:spcAft>
                <a:spcPts val="600"/>
              </a:spcAft>
              <a:buFont typeface="Arial" pitchFamily="34" charset="0"/>
              <a:buNone/>
              <a:defRPr baseline="0"/>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08513" y="1449747"/>
            <a:ext cx="4032250" cy="3393016"/>
          </a:xfrm>
        </p:spPr>
        <p:txBody>
          <a:bodyPr/>
          <a:lstStyle>
            <a:lvl1pPr marL="0" indent="0">
              <a:spcAft>
                <a:spcPts val="600"/>
              </a:spcAft>
              <a:buNone/>
              <a:defRPr baseline="0"/>
            </a:lvl1pPr>
            <a:lvl2pPr marL="0" indent="0">
              <a:spcAft>
                <a:spcPts val="600"/>
              </a:spcAft>
              <a:buNone/>
              <a:defRPr/>
            </a:lvl2pPr>
            <a:lvl3pPr>
              <a:buNone/>
              <a:defRPr/>
            </a:lvl3pPr>
            <a:lvl4pPr>
              <a:buNone/>
              <a:defRPr/>
            </a:lvl4pPr>
            <a:lvl5pPr>
              <a:buNone/>
              <a:defRPr/>
            </a:lvl5pPr>
          </a:lstStyle>
          <a:p>
            <a:pPr lvl="0"/>
            <a:r>
              <a:rPr lang="en-US"/>
              <a:t>Click to edit Master text styles</a:t>
            </a:r>
          </a:p>
          <a:p>
            <a:pPr lvl="1"/>
            <a:r>
              <a:rPr lang="en-US"/>
              <a:t>Second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3" y="717056"/>
            <a:ext cx="8227649" cy="402167"/>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2.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AutoShape 14"/>
          <p:cNvSpPr>
            <a:spLocks noChangeArrowheads="1"/>
          </p:cNvSpPr>
          <p:nvPr userDrawn="1"/>
        </p:nvSpPr>
        <p:spPr bwMode="auto">
          <a:xfrm>
            <a:off x="590553" y="6373813"/>
            <a:ext cx="6169025" cy="323851"/>
          </a:xfrm>
          <a:prstGeom prst="homePlate">
            <a:avLst>
              <a:gd name="adj" fmla="val 91541"/>
            </a:avLst>
          </a:prstGeom>
          <a:solidFill>
            <a:srgbClr val="72AF2F">
              <a:alpha val="94901"/>
            </a:srgbClr>
          </a:solidFill>
          <a:ln w="9525">
            <a:noFill/>
            <a:miter lim="800000"/>
            <a:headEnd/>
            <a:tailEnd/>
          </a:ln>
        </p:spPr>
        <p:txBody>
          <a:bodyPr wrap="none" anchor="ctr"/>
          <a:lstStyle/>
          <a:p>
            <a:pPr>
              <a:defRPr/>
            </a:pPr>
            <a:endParaRPr lang="en-US"/>
          </a:p>
        </p:txBody>
      </p:sp>
      <p:sp>
        <p:nvSpPr>
          <p:cNvPr id="2051" name="Title Placeholder 1"/>
          <p:cNvSpPr>
            <a:spLocks noGrp="1"/>
          </p:cNvSpPr>
          <p:nvPr>
            <p:ph type="title"/>
          </p:nvPr>
        </p:nvSpPr>
        <p:spPr bwMode="auto">
          <a:xfrm>
            <a:off x="488950" y="228600"/>
            <a:ext cx="682783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2052" name="Text Placeholder 2"/>
          <p:cNvSpPr>
            <a:spLocks noGrp="1"/>
          </p:cNvSpPr>
          <p:nvPr>
            <p:ph type="body" idx="1"/>
          </p:nvPr>
        </p:nvSpPr>
        <p:spPr bwMode="auto">
          <a:xfrm>
            <a:off x="485775" y="1454152"/>
            <a:ext cx="8388350" cy="48307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 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14" name="TextBox 13"/>
          <p:cNvSpPr txBox="1"/>
          <p:nvPr userDrawn="1"/>
        </p:nvSpPr>
        <p:spPr>
          <a:xfrm>
            <a:off x="595316" y="6394457"/>
            <a:ext cx="4422775" cy="311151"/>
          </a:xfrm>
          <a:prstGeom prst="rect">
            <a:avLst/>
          </a:prstGeom>
          <a:noFill/>
        </p:spPr>
        <p:txBody>
          <a:bodyPr anchor="ctr">
            <a:normAutofit/>
          </a:bodyPr>
          <a:lstStyle/>
          <a:p>
            <a:pPr>
              <a:defRPr/>
            </a:pPr>
            <a:r>
              <a:rPr lang="en-GB" spc="300" dirty="0"/>
              <a:t>3GPP TSG SA WG2, xx-</a:t>
            </a:r>
            <a:r>
              <a:rPr lang="en-GB" spc="300" dirty="0" err="1"/>
              <a:t>xx.October</a:t>
            </a:r>
            <a:r>
              <a:rPr lang="en-GB" spc="300" dirty="0"/>
              <a:t> 2020</a:t>
            </a:r>
            <a:endParaRPr lang="en-GB" spc="300" dirty="0">
              <a:solidFill>
                <a:schemeClr val="bg1"/>
              </a:solidFill>
            </a:endParaRPr>
          </a:p>
        </p:txBody>
      </p:sp>
      <p:sp>
        <p:nvSpPr>
          <p:cNvPr id="12" name="Oval 11"/>
          <p:cNvSpPr/>
          <p:nvPr userDrawn="1"/>
        </p:nvSpPr>
        <p:spPr bwMode="auto">
          <a:xfrm>
            <a:off x="8318512" y="6383345"/>
            <a:ext cx="511175" cy="296863"/>
          </a:xfrm>
          <a:prstGeom prst="ellipse">
            <a:avLst/>
          </a:prstGeom>
          <a:solidFill>
            <a:schemeClr val="bg1">
              <a:alpha val="50000"/>
            </a:schemeClr>
          </a:solidFill>
          <a:ln w="9525" cap="flat" cmpd="sng" algn="ctr">
            <a:noFill/>
            <a:prstDash val="solid"/>
            <a:round/>
            <a:headEnd type="none" w="med" len="med"/>
            <a:tailEnd type="none" w="med" len="med"/>
          </a:ln>
          <a:effectLst/>
        </p:spPr>
        <p:txBody>
          <a:bodyPr/>
          <a:lstStyle/>
          <a:p>
            <a:pPr algn="ctr">
              <a:defRPr/>
            </a:pPr>
            <a:fld id="{38BB483D-C369-491B-B1D1-2AD91BB702B7}" type="slidenum">
              <a:rPr lang="en-GB" altLang="en-US" b="1"/>
              <a:pPr algn="ctr">
                <a:defRPr/>
              </a:pPr>
              <a:t>‹#›</a:t>
            </a:fld>
            <a:endParaRPr lang="en-GB" altLang="en-US" b="1"/>
          </a:p>
          <a:p>
            <a:pPr>
              <a:defRPr/>
            </a:pPr>
            <a:endParaRPr lang="en-GB" altLang="en-US"/>
          </a:p>
        </p:txBody>
      </p:sp>
      <p:sp>
        <p:nvSpPr>
          <p:cNvPr id="1031" name="Rectangle 15"/>
          <p:cNvSpPr>
            <a:spLocks noChangeArrowheads="1"/>
          </p:cNvSpPr>
          <p:nvPr userDrawn="1"/>
        </p:nvSpPr>
        <p:spPr bwMode="auto">
          <a:xfrm>
            <a:off x="4086225" y="3303595"/>
            <a:ext cx="971741" cy="246221"/>
          </a:xfrm>
          <a:prstGeom prst="rect">
            <a:avLst/>
          </a:prstGeom>
          <a:noFill/>
          <a:ln w="9525">
            <a:noFill/>
            <a:miter lim="800000"/>
            <a:headEnd/>
            <a:tailEnd/>
          </a:ln>
        </p:spPr>
        <p:txBody>
          <a:bodyPr wrap="none">
            <a:spAutoFit/>
          </a:bodyPr>
          <a:lstStyle/>
          <a:p>
            <a:pPr eaLnBrk="1" hangingPunct="1">
              <a:defRPr/>
            </a:pPr>
            <a:r>
              <a:rPr lang="en-GB">
                <a:solidFill>
                  <a:schemeClr val="bg1"/>
                </a:solidFill>
              </a:rPr>
              <a:t>© 3GPP 2012</a:t>
            </a:r>
            <a:endParaRPr lang="en-GB"/>
          </a:p>
        </p:txBody>
      </p:sp>
      <p:sp>
        <p:nvSpPr>
          <p:cNvPr id="8" name="Text Box 13"/>
          <p:cNvSpPr txBox="1">
            <a:spLocks noChangeArrowheads="1"/>
          </p:cNvSpPr>
          <p:nvPr userDrawn="1"/>
        </p:nvSpPr>
        <p:spPr bwMode="auto">
          <a:xfrm>
            <a:off x="7639052" y="177807"/>
            <a:ext cx="1463675" cy="276999"/>
          </a:xfrm>
          <a:prstGeom prst="rect">
            <a:avLst/>
          </a:prstGeom>
          <a:noFill/>
          <a:ln w="9525">
            <a:noFill/>
            <a:miter lim="800000"/>
            <a:headEnd/>
            <a:tailEnd/>
          </a:ln>
        </p:spPr>
        <p:txBody>
          <a:bodyPr>
            <a:spAutoFit/>
          </a:bodyPr>
          <a:lstStyle/>
          <a:p>
            <a:pPr algn="r" eaLnBrk="1" hangingPunct="1">
              <a:spcBef>
                <a:spcPct val="50000"/>
              </a:spcBef>
              <a:defRPr/>
            </a:pPr>
            <a:r>
              <a:rPr lang="en-GB" sz="1200" b="1" dirty="0"/>
              <a:t>S2-20xxxx</a:t>
            </a:r>
            <a:endParaRPr lang="en-GB" sz="1200" dirty="0">
              <a:solidFill>
                <a:schemeClr val="bg2"/>
              </a:solidFill>
            </a:endParaRPr>
          </a:p>
        </p:txBody>
      </p:sp>
    </p:spTree>
  </p:cSld>
  <p:clrMap bg1="lt1" tx1="dk1" bg2="lt2" tx2="dk2" accent1="accent1" accent2="accent2" accent3="accent3" accent4="accent4" accent5="accent5" accent6="accent6" hlink="hlink" folHlink="folHlink"/>
  <p:sldLayoutIdLst>
    <p:sldLayoutId id="2147483746" r:id="rId1"/>
    <p:sldLayoutId id="2147483743" r:id="rId2"/>
    <p:sldLayoutId id="2147483744" r:id="rId3"/>
  </p:sldLayoutIdLst>
  <p:transition spd="slow"/>
  <p:hf hdr="0" ftr="0" dt="0"/>
  <p:txStyles>
    <p:titleStyle>
      <a:lvl1pPr algn="ctr" rtl="0" eaLnBrk="0" fontAlgn="base" hangingPunct="0">
        <a:spcBef>
          <a:spcPct val="0"/>
        </a:spcBef>
        <a:spcAft>
          <a:spcPct val="0"/>
        </a:spcAft>
        <a:defRPr sz="3200">
          <a:solidFill>
            <a:srgbClr val="FF0000"/>
          </a:solidFill>
          <a:latin typeface="+mj-lt"/>
          <a:ea typeface="+mj-ea"/>
          <a:cs typeface="+mj-cs"/>
        </a:defRPr>
      </a:lvl1pPr>
      <a:lvl2pPr algn="ctr" rtl="0" eaLnBrk="0" fontAlgn="base" hangingPunct="0">
        <a:spcBef>
          <a:spcPct val="0"/>
        </a:spcBef>
        <a:spcAft>
          <a:spcPct val="0"/>
        </a:spcAft>
        <a:defRPr sz="3200">
          <a:solidFill>
            <a:srgbClr val="FF0000"/>
          </a:solidFill>
          <a:latin typeface="Calibri" pitchFamily="34" charset="0"/>
        </a:defRPr>
      </a:lvl2pPr>
      <a:lvl3pPr algn="ctr" rtl="0" eaLnBrk="0" fontAlgn="base" hangingPunct="0">
        <a:spcBef>
          <a:spcPct val="0"/>
        </a:spcBef>
        <a:spcAft>
          <a:spcPct val="0"/>
        </a:spcAft>
        <a:defRPr sz="3200">
          <a:solidFill>
            <a:srgbClr val="FF0000"/>
          </a:solidFill>
          <a:latin typeface="Calibri" pitchFamily="34" charset="0"/>
        </a:defRPr>
      </a:lvl3pPr>
      <a:lvl4pPr algn="ctr" rtl="0" eaLnBrk="0" fontAlgn="base" hangingPunct="0">
        <a:spcBef>
          <a:spcPct val="0"/>
        </a:spcBef>
        <a:spcAft>
          <a:spcPct val="0"/>
        </a:spcAft>
        <a:defRPr sz="3200">
          <a:solidFill>
            <a:srgbClr val="FF0000"/>
          </a:solidFill>
          <a:latin typeface="Calibri" pitchFamily="34" charset="0"/>
        </a:defRPr>
      </a:lvl4pPr>
      <a:lvl5pPr algn="ctr" rtl="0" eaLnBrk="0" fontAlgn="base" hangingPunct="0">
        <a:spcBef>
          <a:spcPct val="0"/>
        </a:spcBef>
        <a:spcAft>
          <a:spcPct val="0"/>
        </a:spcAft>
        <a:defRPr sz="3200">
          <a:solidFill>
            <a:srgbClr val="FF0000"/>
          </a:solidFill>
          <a:latin typeface="Calibri" pitchFamily="34" charset="0"/>
        </a:defRPr>
      </a:lvl5pPr>
      <a:lvl6pPr marL="457200" algn="ctr" rtl="0" eaLnBrk="0" fontAlgn="base" hangingPunct="0">
        <a:spcBef>
          <a:spcPct val="0"/>
        </a:spcBef>
        <a:spcAft>
          <a:spcPct val="0"/>
        </a:spcAft>
        <a:defRPr sz="3200">
          <a:solidFill>
            <a:srgbClr val="FF0000"/>
          </a:solidFill>
          <a:latin typeface="Calibri" pitchFamily="34" charset="0"/>
        </a:defRPr>
      </a:lvl6pPr>
      <a:lvl7pPr marL="914400" algn="ctr" rtl="0" eaLnBrk="0" fontAlgn="base" hangingPunct="0">
        <a:spcBef>
          <a:spcPct val="0"/>
        </a:spcBef>
        <a:spcAft>
          <a:spcPct val="0"/>
        </a:spcAft>
        <a:defRPr sz="3200">
          <a:solidFill>
            <a:srgbClr val="FF0000"/>
          </a:solidFill>
          <a:latin typeface="Calibri" pitchFamily="34" charset="0"/>
        </a:defRPr>
      </a:lvl7pPr>
      <a:lvl8pPr marL="1371600" algn="ctr" rtl="0" eaLnBrk="0" fontAlgn="base" hangingPunct="0">
        <a:spcBef>
          <a:spcPct val="0"/>
        </a:spcBef>
        <a:spcAft>
          <a:spcPct val="0"/>
        </a:spcAft>
        <a:defRPr sz="3200">
          <a:solidFill>
            <a:srgbClr val="FF0000"/>
          </a:solidFill>
          <a:latin typeface="Calibri" pitchFamily="34" charset="0"/>
        </a:defRPr>
      </a:lvl8pPr>
      <a:lvl9pPr marL="1828800" algn="ctr" rtl="0" eaLnBrk="0" fontAlgn="base" hangingPunct="0">
        <a:spcBef>
          <a:spcPct val="0"/>
        </a:spcBef>
        <a:spcAft>
          <a:spcPct val="0"/>
        </a:spcAft>
        <a:defRPr sz="3200">
          <a:solidFill>
            <a:srgbClr val="FF0000"/>
          </a:solidFill>
          <a:latin typeface="Calibri" pitchFamily="34" charset="0"/>
        </a:defRPr>
      </a:lvl9pPr>
    </p:titleStyle>
    <p:bodyStyle>
      <a:lvl1pPr marL="342900" indent="-342900" algn="l" rtl="0" eaLnBrk="0" fontAlgn="base" hangingPunct="0">
        <a:spcBef>
          <a:spcPct val="20000"/>
        </a:spcBef>
        <a:spcAft>
          <a:spcPct val="0"/>
        </a:spcAft>
        <a:buBlip>
          <a:blip r:embed="rId5"/>
        </a:buBlip>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C00000"/>
        </a:buClr>
        <a:buFont typeface="Arial" pitchFamily="34" charset="0"/>
        <a:buChar char="•"/>
        <a:defRPr sz="2400">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2000">
          <a:solidFill>
            <a:schemeClr val="tx1"/>
          </a:solidFill>
          <a:latin typeface="+mn-lt"/>
        </a:defRPr>
      </a:lvl3pPr>
      <a:lvl4pPr marL="1600200" indent="-228600" algn="l" rtl="0" eaLnBrk="0" fontAlgn="base" hangingPunct="0">
        <a:spcBef>
          <a:spcPct val="20000"/>
        </a:spcBef>
        <a:spcAft>
          <a:spcPct val="0"/>
        </a:spcAft>
        <a:buFont typeface="Arial" pitchFamily="34" charset="0"/>
        <a:buChar char="–"/>
        <a:defRPr sz="2000">
          <a:solidFill>
            <a:schemeClr val="tx1"/>
          </a:solidFill>
          <a:latin typeface="+mn-lt"/>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defRPr>
      </a:lvl5pPr>
      <a:lvl6pPr marL="2514600" indent="-228600" algn="l" rtl="0" eaLnBrk="0" fontAlgn="base" hangingPunct="0">
        <a:spcBef>
          <a:spcPct val="20000"/>
        </a:spcBef>
        <a:spcAft>
          <a:spcPct val="0"/>
        </a:spcAft>
        <a:buFont typeface="Arial" charset="0"/>
        <a:buChar char="»"/>
        <a:defRPr sz="1600">
          <a:solidFill>
            <a:schemeClr val="tx1"/>
          </a:solidFill>
          <a:latin typeface="+mn-lt"/>
        </a:defRPr>
      </a:lvl6pPr>
      <a:lvl7pPr marL="2971800" indent="-228600" algn="l" rtl="0" eaLnBrk="0" fontAlgn="base" hangingPunct="0">
        <a:spcBef>
          <a:spcPct val="20000"/>
        </a:spcBef>
        <a:spcAft>
          <a:spcPct val="0"/>
        </a:spcAft>
        <a:buFont typeface="Arial" charset="0"/>
        <a:buChar char="»"/>
        <a:defRPr sz="1600">
          <a:solidFill>
            <a:schemeClr val="tx1"/>
          </a:solidFill>
          <a:latin typeface="+mn-lt"/>
        </a:defRPr>
      </a:lvl7pPr>
      <a:lvl8pPr marL="3429000" indent="-228600" algn="l" rtl="0" eaLnBrk="0" fontAlgn="base" hangingPunct="0">
        <a:spcBef>
          <a:spcPct val="20000"/>
        </a:spcBef>
        <a:spcAft>
          <a:spcPct val="0"/>
        </a:spcAft>
        <a:buFont typeface="Arial" charset="0"/>
        <a:buChar char="»"/>
        <a:defRPr sz="1600">
          <a:solidFill>
            <a:schemeClr val="tx1"/>
          </a:solidFill>
          <a:latin typeface="+mn-lt"/>
        </a:defRPr>
      </a:lvl8pPr>
      <a:lvl9pPr marL="3886200" indent="-228600" algn="l" rtl="0" eaLnBrk="0" fontAlgn="base" hangingPunct="0">
        <a:spcBef>
          <a:spcPct val="20000"/>
        </a:spcBef>
        <a:spcAft>
          <a:spcPct val="0"/>
        </a:spcAft>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6"/>
            </p:custData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1026" name="think-cell Slide" r:id="rId7" imgW="270" imgH="270" progId="">
                  <p:embed/>
                </p:oleObj>
              </mc:Choice>
              <mc:Fallback>
                <p:oleObj name="think-cell Slide" r:id="rId7" imgW="270" imgH="270" progId="">
                  <p:embed/>
                  <p:pic>
                    <p:nvPicPr>
                      <p:cNvPr id="31" name="Object 3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2119"/>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Line 9"/>
          <p:cNvSpPr>
            <a:spLocks noChangeShapeType="1"/>
          </p:cNvSpPr>
          <p:nvPr/>
        </p:nvSpPr>
        <p:spPr bwMode="auto">
          <a:xfrm flipV="1">
            <a:off x="-179388" y="791633"/>
            <a:ext cx="9502776" cy="0"/>
          </a:xfrm>
          <a:prstGeom prst="line">
            <a:avLst/>
          </a:prstGeom>
          <a:noFill/>
          <a:ln w="3175">
            <a:solidFill>
              <a:schemeClr val="bg1"/>
            </a:solidFill>
            <a:round/>
            <a:headEnd/>
            <a:tailEnd/>
          </a:ln>
        </p:spPr>
        <p:txBody>
          <a:bodyPr anchor="ctr"/>
          <a:lstStyle/>
          <a:p>
            <a:pPr defTabSz="457200" eaLnBrk="1" hangingPunct="1">
              <a:defRPr/>
            </a:pPr>
            <a:endParaRPr lang="en-GB" sz="1800" dirty="0">
              <a:solidFill>
                <a:srgbClr val="124191"/>
              </a:solidFill>
              <a:latin typeface="Nokia Pure Headline Light"/>
            </a:endParaRPr>
          </a:p>
        </p:txBody>
      </p:sp>
      <p:sp>
        <p:nvSpPr>
          <p:cNvPr id="1036" name="Line 12"/>
          <p:cNvSpPr>
            <a:spLocks noChangeShapeType="1"/>
          </p:cNvSpPr>
          <p:nvPr/>
        </p:nvSpPr>
        <p:spPr bwMode="auto">
          <a:xfrm flipV="1">
            <a:off x="-179388" y="6553200"/>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37" name="Line 9"/>
          <p:cNvSpPr>
            <a:spLocks noChangeShapeType="1"/>
          </p:cNvSpPr>
          <p:nvPr/>
        </p:nvSpPr>
        <p:spPr bwMode="auto">
          <a:xfrm flipV="1">
            <a:off x="-179388" y="1128184"/>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38" name="Line 10"/>
          <p:cNvSpPr>
            <a:spLocks noChangeShapeType="1"/>
          </p:cNvSpPr>
          <p:nvPr/>
        </p:nvSpPr>
        <p:spPr bwMode="auto">
          <a:xfrm flipH="1">
            <a:off x="-179388" y="1456267"/>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39" name="Line 12"/>
          <p:cNvSpPr>
            <a:spLocks noChangeShapeType="1"/>
          </p:cNvSpPr>
          <p:nvPr/>
        </p:nvSpPr>
        <p:spPr bwMode="auto">
          <a:xfrm flipV="1">
            <a:off x="-179388" y="6220884"/>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0" name="Line 13"/>
          <p:cNvSpPr>
            <a:spLocks noChangeShapeType="1"/>
          </p:cNvSpPr>
          <p:nvPr/>
        </p:nvSpPr>
        <p:spPr bwMode="auto">
          <a:xfrm flipH="1" flipV="1">
            <a:off x="-179388" y="5867400"/>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1" name="Line 14"/>
          <p:cNvSpPr>
            <a:spLocks noChangeShapeType="1"/>
          </p:cNvSpPr>
          <p:nvPr/>
        </p:nvSpPr>
        <p:spPr bwMode="auto">
          <a:xfrm>
            <a:off x="-179388" y="374651"/>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2" name="Line 15"/>
          <p:cNvSpPr>
            <a:spLocks noChangeShapeType="1"/>
          </p:cNvSpPr>
          <p:nvPr/>
        </p:nvSpPr>
        <p:spPr bwMode="auto">
          <a:xfrm flipH="1">
            <a:off x="417513" y="-196851"/>
            <a:ext cx="0" cy="7344835"/>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3" name="Line 17"/>
          <p:cNvSpPr>
            <a:spLocks noChangeShapeType="1"/>
          </p:cNvSpPr>
          <p:nvPr/>
        </p:nvSpPr>
        <p:spPr bwMode="auto">
          <a:xfrm>
            <a:off x="8656638" y="-196851"/>
            <a:ext cx="0" cy="7344835"/>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2" name="Title Placeholder 1"/>
          <p:cNvSpPr>
            <a:spLocks noGrp="1"/>
          </p:cNvSpPr>
          <p:nvPr>
            <p:ph type="title"/>
          </p:nvPr>
        </p:nvSpPr>
        <p:spPr bwMode="auto">
          <a:xfrm>
            <a:off x="417513" y="372533"/>
            <a:ext cx="8229600" cy="4148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4" name="Text Placeholder 2"/>
          <p:cNvSpPr>
            <a:spLocks noGrp="1"/>
          </p:cNvSpPr>
          <p:nvPr>
            <p:ph type="body" idx="1"/>
          </p:nvPr>
        </p:nvSpPr>
        <p:spPr bwMode="auto">
          <a:xfrm>
            <a:off x="417513" y="1452042"/>
            <a:ext cx="8229600" cy="44090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Box 9"/>
          <p:cNvSpPr txBox="1">
            <a:spLocks noChangeArrowheads="1"/>
          </p:cNvSpPr>
          <p:nvPr/>
        </p:nvSpPr>
        <p:spPr bwMode="auto">
          <a:xfrm>
            <a:off x="0" y="-469900"/>
            <a:ext cx="9144000" cy="233014"/>
          </a:xfrm>
          <a:prstGeom prst="rect">
            <a:avLst/>
          </a:prstGeom>
          <a:noFill/>
          <a:ln w="19050" algn="ctr">
            <a:noFill/>
            <a:miter lim="800000"/>
            <a:headEnd/>
            <a:tailEnd/>
          </a:ln>
          <a:effectLst/>
        </p:spPr>
        <p:txBody>
          <a:bodyPr lIns="90000" tIns="46800" rIns="90000" bIns="46800">
            <a:spAutoFit/>
          </a:bodyPr>
          <a:lstStyle/>
          <a:p>
            <a:pPr algn="ctr" defTabSz="762000">
              <a:lnSpc>
                <a:spcPct val="90000"/>
              </a:lnSpc>
              <a:spcBef>
                <a:spcPct val="50000"/>
              </a:spcBef>
              <a:buClr>
                <a:srgbClr val="00C9FF"/>
              </a:buClr>
              <a:defRPr/>
            </a:pPr>
            <a:r>
              <a:rPr lang="en-US" dirty="0">
                <a:solidFill>
                  <a:srgbClr val="FFFFFF"/>
                </a:solidFill>
                <a:latin typeface="Nokia Pure Text Light"/>
                <a:cs typeface="+mn-cs"/>
              </a:rPr>
              <a:t>To change the document information in the footer, press [Alt + F8] and use the “FORM“</a:t>
            </a:r>
          </a:p>
        </p:txBody>
      </p:sp>
      <p:sp>
        <p:nvSpPr>
          <p:cNvPr id="41" name="AutoShape 57"/>
          <p:cNvSpPr>
            <a:spLocks noChangeArrowheads="1"/>
          </p:cNvSpPr>
          <p:nvPr/>
        </p:nvSpPr>
        <p:spPr bwMode="auto">
          <a:xfrm>
            <a:off x="1474790" y="6944786"/>
            <a:ext cx="287337" cy="179916"/>
          </a:xfrm>
          <a:prstGeom prst="roundRect">
            <a:avLst>
              <a:gd name="adj" fmla="val 16667"/>
            </a:avLst>
          </a:prstGeom>
          <a:solidFill>
            <a:schemeClr val="accent1"/>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18 </a:t>
            </a:r>
            <a:br>
              <a:rPr lang="en-GB" sz="500" b="1" dirty="0">
                <a:solidFill>
                  <a:srgbClr val="FFFFFF"/>
                </a:solidFill>
                <a:latin typeface="Nokia Pure Text Light"/>
              </a:rPr>
            </a:br>
            <a:r>
              <a:rPr lang="en-GB" sz="500" b="1" dirty="0">
                <a:solidFill>
                  <a:srgbClr val="FFFFFF"/>
                </a:solidFill>
                <a:latin typeface="Nokia Pure Text Light"/>
              </a:rPr>
              <a:t>G 65 </a:t>
            </a:r>
            <a:br>
              <a:rPr lang="en-GB" sz="500" b="1" dirty="0">
                <a:solidFill>
                  <a:srgbClr val="FFFFFF"/>
                </a:solidFill>
                <a:latin typeface="Nokia Pure Text Light"/>
              </a:rPr>
            </a:br>
            <a:r>
              <a:rPr lang="en-GB" sz="500" b="1" dirty="0">
                <a:solidFill>
                  <a:srgbClr val="FFFFFF"/>
                </a:solidFill>
                <a:latin typeface="Nokia Pure Text Light"/>
              </a:rPr>
              <a:t>B 145</a:t>
            </a:r>
          </a:p>
        </p:txBody>
      </p:sp>
      <p:sp>
        <p:nvSpPr>
          <p:cNvPr id="43" name="AutoShape 58"/>
          <p:cNvSpPr>
            <a:spLocks noChangeArrowheads="1"/>
          </p:cNvSpPr>
          <p:nvPr/>
        </p:nvSpPr>
        <p:spPr bwMode="auto">
          <a:xfrm>
            <a:off x="1835150" y="6944786"/>
            <a:ext cx="287338" cy="179916"/>
          </a:xfrm>
          <a:prstGeom prst="roundRect">
            <a:avLst>
              <a:gd name="adj" fmla="val 16667"/>
            </a:avLst>
          </a:prstGeom>
          <a:solidFill>
            <a:schemeClr val="accent2"/>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0 </a:t>
            </a:r>
            <a:br>
              <a:rPr lang="en-GB" sz="500" b="1" dirty="0">
                <a:solidFill>
                  <a:srgbClr val="FFFFFF"/>
                </a:solidFill>
                <a:latin typeface="Nokia Pure Text Light"/>
              </a:rPr>
            </a:br>
            <a:r>
              <a:rPr lang="en-GB" sz="500" b="1" dirty="0">
                <a:solidFill>
                  <a:srgbClr val="FFFFFF"/>
                </a:solidFill>
                <a:latin typeface="Nokia Pure Text Light"/>
              </a:rPr>
              <a:t>G 201 </a:t>
            </a:r>
            <a:br>
              <a:rPr lang="en-GB" sz="500" b="1" dirty="0">
                <a:solidFill>
                  <a:srgbClr val="FFFFFF"/>
                </a:solidFill>
                <a:latin typeface="Nokia Pure Text Light"/>
              </a:rPr>
            </a:br>
            <a:r>
              <a:rPr lang="en-GB" sz="500" b="1" dirty="0">
                <a:solidFill>
                  <a:srgbClr val="FFFFFF"/>
                </a:solidFill>
                <a:latin typeface="Nokia Pure Text Light"/>
              </a:rPr>
              <a:t>B 255</a:t>
            </a:r>
          </a:p>
        </p:txBody>
      </p:sp>
      <p:sp>
        <p:nvSpPr>
          <p:cNvPr id="44" name="AutoShape 59"/>
          <p:cNvSpPr>
            <a:spLocks noChangeArrowheads="1"/>
          </p:cNvSpPr>
          <p:nvPr/>
        </p:nvSpPr>
        <p:spPr bwMode="auto">
          <a:xfrm>
            <a:off x="2195513" y="6944786"/>
            <a:ext cx="287337" cy="179916"/>
          </a:xfrm>
          <a:prstGeom prst="roundRect">
            <a:avLst>
              <a:gd name="adj" fmla="val 16667"/>
            </a:avLst>
          </a:prstGeom>
          <a:solidFill>
            <a:schemeClr val="accent4"/>
          </a:solidFill>
          <a:ln w="9525">
            <a:noFill/>
            <a:round/>
            <a:headEnd/>
            <a:tailEnd/>
          </a:ln>
          <a:effectLst/>
        </p:spPr>
        <p:txBody>
          <a:bodyPr lIns="18000" tIns="252000" rIns="18000" bIns="0"/>
          <a:lstStyle/>
          <a:p>
            <a:pPr defTabSz="604647" fontAlgn="auto">
              <a:spcBef>
                <a:spcPct val="15000"/>
              </a:spcBef>
              <a:spcAft>
                <a:spcPct val="15000"/>
              </a:spcAft>
              <a:buClr>
                <a:srgbClr val="00C9FF"/>
              </a:buClr>
              <a:defRPr/>
            </a:pPr>
            <a:r>
              <a:rPr lang="en-US" sz="500" b="1" dirty="0">
                <a:solidFill>
                  <a:srgbClr val="FFFFFF"/>
                </a:solidFill>
                <a:latin typeface="Nokia Pure Text Light"/>
              </a:rPr>
              <a:t>R 104</a:t>
            </a:r>
            <a:br>
              <a:rPr lang="en-US" sz="500" b="1" dirty="0">
                <a:solidFill>
                  <a:srgbClr val="FFFFFF"/>
                </a:solidFill>
                <a:latin typeface="Nokia Pure Text Light"/>
              </a:rPr>
            </a:br>
            <a:r>
              <a:rPr lang="en-US" sz="500" b="1" dirty="0">
                <a:solidFill>
                  <a:srgbClr val="FFFFFF"/>
                </a:solidFill>
                <a:latin typeface="Nokia Pure Text Light"/>
              </a:rPr>
              <a:t>G 113</a:t>
            </a:r>
            <a:br>
              <a:rPr lang="en-US" sz="500" b="1" dirty="0">
                <a:solidFill>
                  <a:srgbClr val="FFFFFF"/>
                </a:solidFill>
                <a:latin typeface="Nokia Pure Text Light"/>
              </a:rPr>
            </a:br>
            <a:r>
              <a:rPr lang="en-US" sz="500" b="1" dirty="0">
                <a:solidFill>
                  <a:srgbClr val="FFFFFF"/>
                </a:solidFill>
                <a:latin typeface="Nokia Pure Text Light"/>
              </a:rPr>
              <a:t>B 122</a:t>
            </a:r>
          </a:p>
        </p:txBody>
      </p:sp>
      <p:sp>
        <p:nvSpPr>
          <p:cNvPr id="45" name="AutoShape 64"/>
          <p:cNvSpPr>
            <a:spLocks noChangeArrowheads="1"/>
          </p:cNvSpPr>
          <p:nvPr/>
        </p:nvSpPr>
        <p:spPr bwMode="auto">
          <a:xfrm>
            <a:off x="2916251" y="6944786"/>
            <a:ext cx="287337" cy="179916"/>
          </a:xfrm>
          <a:prstGeom prst="roundRect">
            <a:avLst>
              <a:gd name="adj" fmla="val 16667"/>
            </a:avLst>
          </a:prstGeom>
          <a:solidFill>
            <a:schemeClr val="accent6"/>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216</a:t>
            </a:r>
            <a:br>
              <a:rPr lang="en-GB" sz="500" b="1" dirty="0">
                <a:solidFill>
                  <a:srgbClr val="FFFFFF"/>
                </a:solidFill>
                <a:latin typeface="Nokia Pure Text Light"/>
              </a:rPr>
            </a:br>
            <a:r>
              <a:rPr lang="en-GB" sz="500" b="1" dirty="0">
                <a:solidFill>
                  <a:srgbClr val="FFFFFF"/>
                </a:solidFill>
                <a:latin typeface="Nokia Pure Text Light"/>
              </a:rPr>
              <a:t>G 217</a:t>
            </a:r>
            <a:br>
              <a:rPr lang="en-GB" sz="500" b="1" dirty="0">
                <a:solidFill>
                  <a:srgbClr val="FFFFFF"/>
                </a:solidFill>
                <a:latin typeface="Nokia Pure Text Light"/>
              </a:rPr>
            </a:br>
            <a:r>
              <a:rPr lang="en-GB" sz="500" b="1" dirty="0">
                <a:solidFill>
                  <a:srgbClr val="FFFFFF"/>
                </a:solidFill>
                <a:latin typeface="Nokia Pure Text Light"/>
              </a:rPr>
              <a:t>B 218</a:t>
            </a:r>
          </a:p>
        </p:txBody>
      </p:sp>
      <p:sp>
        <p:nvSpPr>
          <p:cNvPr id="46" name="AutoShape 65"/>
          <p:cNvSpPr>
            <a:spLocks noChangeArrowheads="1"/>
          </p:cNvSpPr>
          <p:nvPr/>
        </p:nvSpPr>
        <p:spPr bwMode="auto">
          <a:xfrm>
            <a:off x="2555875" y="6944786"/>
            <a:ext cx="287338" cy="179916"/>
          </a:xfrm>
          <a:prstGeom prst="roundRect">
            <a:avLst>
              <a:gd name="adj" fmla="val 16667"/>
            </a:avLst>
          </a:prstGeom>
          <a:solidFill>
            <a:schemeClr val="accent4"/>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168</a:t>
            </a:r>
            <a:br>
              <a:rPr lang="en-GB" sz="500" b="1" dirty="0">
                <a:solidFill>
                  <a:srgbClr val="FFFFFF"/>
                </a:solidFill>
                <a:latin typeface="Nokia Pure Text Light"/>
              </a:rPr>
            </a:br>
            <a:r>
              <a:rPr lang="en-GB" sz="500" b="1" dirty="0">
                <a:solidFill>
                  <a:srgbClr val="FFFFFF"/>
                </a:solidFill>
                <a:latin typeface="Nokia Pure Text Light"/>
              </a:rPr>
              <a:t>G 187</a:t>
            </a:r>
            <a:br>
              <a:rPr lang="en-GB" sz="500" b="1" dirty="0">
                <a:solidFill>
                  <a:srgbClr val="FFFFFF"/>
                </a:solidFill>
                <a:latin typeface="Nokia Pure Text Light"/>
              </a:rPr>
            </a:br>
            <a:r>
              <a:rPr lang="en-GB" sz="500" b="1" dirty="0">
                <a:solidFill>
                  <a:srgbClr val="FFFFFF"/>
                </a:solidFill>
                <a:latin typeface="Nokia Pure Text Light"/>
              </a:rPr>
              <a:t>B 192</a:t>
            </a:r>
          </a:p>
        </p:txBody>
      </p:sp>
      <p:sp>
        <p:nvSpPr>
          <p:cNvPr id="47" name="Rectangle 68"/>
          <p:cNvSpPr>
            <a:spLocks noChangeArrowheads="1"/>
          </p:cNvSpPr>
          <p:nvPr/>
        </p:nvSpPr>
        <p:spPr bwMode="auto">
          <a:xfrm>
            <a:off x="647713" y="6944786"/>
            <a:ext cx="792163" cy="179916"/>
          </a:xfrm>
          <a:prstGeom prst="rect">
            <a:avLst/>
          </a:prstGeom>
          <a:noFill/>
          <a:ln>
            <a:noFill/>
          </a:ln>
        </p:spPr>
        <p:txBody>
          <a:bodyPr wrap="none" lIns="18000" tIns="0" rIns="36000" bIns="0" anchor="ctr"/>
          <a:lstStyle/>
          <a:p>
            <a:pPr algn="r" defTabSz="603250">
              <a:spcBef>
                <a:spcPct val="15000"/>
              </a:spcBef>
              <a:spcAft>
                <a:spcPct val="15000"/>
              </a:spcAft>
              <a:buClr>
                <a:srgbClr val="00C9FF"/>
              </a:buClr>
              <a:defRPr/>
            </a:pPr>
            <a:r>
              <a:rPr lang="en-GB" sz="500" b="1" dirty="0">
                <a:solidFill>
                  <a:srgbClr val="FFFFFF"/>
                </a:solidFill>
              </a:rPr>
              <a:t>Core and </a:t>
            </a:r>
            <a:r>
              <a:rPr lang="en-GB" sz="500" b="1" dirty="0">
                <a:solidFill>
                  <a:srgbClr val="FFFFFF"/>
                </a:solidFill>
                <a:latin typeface="Nokia Pure Text Light"/>
              </a:rPr>
              <a:t>background</a:t>
            </a:r>
            <a:r>
              <a:rPr lang="en-GB" sz="500" b="1" dirty="0">
                <a:solidFill>
                  <a:srgbClr val="FFFFFF"/>
                </a:solidFill>
              </a:rPr>
              <a:t> colors:</a:t>
            </a:r>
          </a:p>
        </p:txBody>
      </p:sp>
      <p:sp>
        <p:nvSpPr>
          <p:cNvPr id="48" name="AutoShape 57"/>
          <p:cNvSpPr>
            <a:spLocks noChangeArrowheads="1"/>
          </p:cNvSpPr>
          <p:nvPr/>
        </p:nvSpPr>
        <p:spPr bwMode="auto">
          <a:xfrm>
            <a:off x="1474790" y="6944786"/>
            <a:ext cx="287337" cy="179916"/>
          </a:xfrm>
          <a:prstGeom prst="roundRect">
            <a:avLst>
              <a:gd name="adj" fmla="val 16667"/>
            </a:avLst>
          </a:prstGeom>
          <a:solidFill>
            <a:schemeClr val="tx1"/>
          </a:solidFill>
          <a:ln w="9525">
            <a:noFill/>
            <a:round/>
            <a:headEnd/>
            <a:tailEnd/>
          </a:ln>
        </p:spPr>
        <p:txBody>
          <a:bodyPr lIns="18000" tIns="252000" rIns="18000" bIns="0"/>
          <a:lstStyle/>
          <a:p>
            <a:pPr defTabSz="603250">
              <a:spcBef>
                <a:spcPct val="15000"/>
              </a:spcBef>
              <a:spcAft>
                <a:spcPct val="15000"/>
              </a:spcAft>
              <a:buClr>
                <a:srgbClr val="00C9FF"/>
              </a:buClr>
              <a:defRPr/>
            </a:pPr>
            <a:endParaRPr lang="en-US" sz="500" b="1">
              <a:solidFill>
                <a:srgbClr val="FFFFFF"/>
              </a:solidFill>
              <a:latin typeface="Nokia Pure Text Light"/>
            </a:endParaRPr>
          </a:p>
        </p:txBody>
      </p:sp>
      <p:sp>
        <p:nvSpPr>
          <p:cNvPr id="49" name="AutoShape 58"/>
          <p:cNvSpPr>
            <a:spLocks noChangeArrowheads="1"/>
          </p:cNvSpPr>
          <p:nvPr/>
        </p:nvSpPr>
        <p:spPr bwMode="auto">
          <a:xfrm>
            <a:off x="1835150" y="6944786"/>
            <a:ext cx="287338" cy="179916"/>
          </a:xfrm>
          <a:prstGeom prst="roundRect">
            <a:avLst>
              <a:gd name="adj" fmla="val 16667"/>
            </a:avLst>
          </a:prstGeom>
          <a:solidFill>
            <a:schemeClr val="accent1"/>
          </a:solidFill>
          <a:ln w="9525">
            <a:noFill/>
            <a:round/>
            <a:headEnd/>
            <a:tailEnd/>
          </a:ln>
        </p:spPr>
        <p:txBody>
          <a:bodyPr lIns="18000" tIns="252000" rIns="18000" bIns="0"/>
          <a:lstStyle/>
          <a:p>
            <a:pPr defTabSz="603250">
              <a:spcBef>
                <a:spcPct val="15000"/>
              </a:spcBef>
              <a:spcAft>
                <a:spcPct val="15000"/>
              </a:spcAft>
              <a:buClr>
                <a:srgbClr val="00C9FF"/>
              </a:buClr>
              <a:defRPr/>
            </a:pPr>
            <a:endParaRPr lang="en-US" sz="500" b="1">
              <a:solidFill>
                <a:srgbClr val="FFFFFF"/>
              </a:solidFill>
              <a:latin typeface="Nokia Pure Text Light"/>
            </a:endParaRPr>
          </a:p>
        </p:txBody>
      </p:sp>
      <p:sp>
        <p:nvSpPr>
          <p:cNvPr id="50" name="AutoShape 59"/>
          <p:cNvSpPr>
            <a:spLocks noChangeArrowheads="1"/>
          </p:cNvSpPr>
          <p:nvPr/>
        </p:nvSpPr>
        <p:spPr bwMode="auto">
          <a:xfrm>
            <a:off x="2195513" y="6944786"/>
            <a:ext cx="287337" cy="179916"/>
          </a:xfrm>
          <a:prstGeom prst="roundRect">
            <a:avLst>
              <a:gd name="adj" fmla="val 16667"/>
            </a:avLst>
          </a:prstGeom>
          <a:solidFill>
            <a:schemeClr val="bg2"/>
          </a:solidFill>
          <a:ln w="9525">
            <a:noFill/>
            <a:round/>
            <a:headEnd/>
            <a:tailEnd/>
          </a:ln>
          <a:effectLst/>
        </p:spPr>
        <p:txBody>
          <a:bodyPr lIns="18000" tIns="252000" rIns="18000" bIns="0"/>
          <a:lstStyle/>
          <a:p>
            <a:pPr defTabSz="604647" fontAlgn="auto">
              <a:spcBef>
                <a:spcPct val="15000"/>
              </a:spcBef>
              <a:spcAft>
                <a:spcPct val="15000"/>
              </a:spcAft>
              <a:buClr>
                <a:srgbClr val="00C9FF"/>
              </a:buClr>
              <a:defRPr/>
            </a:pPr>
            <a:endParaRPr lang="en-US" sz="500" b="1" dirty="0">
              <a:solidFill>
                <a:srgbClr val="FFFFFF"/>
              </a:solidFill>
              <a:latin typeface="Nokia Pure Text Light"/>
            </a:endParaRPr>
          </a:p>
        </p:txBody>
      </p:sp>
      <p:sp>
        <p:nvSpPr>
          <p:cNvPr id="51" name="Rectangle 68"/>
          <p:cNvSpPr>
            <a:spLocks noChangeArrowheads="1"/>
          </p:cNvSpPr>
          <p:nvPr/>
        </p:nvSpPr>
        <p:spPr bwMode="auto">
          <a:xfrm>
            <a:off x="647713" y="6944786"/>
            <a:ext cx="792163" cy="179916"/>
          </a:xfrm>
          <a:prstGeom prst="rect">
            <a:avLst/>
          </a:prstGeom>
          <a:noFill/>
          <a:ln>
            <a:noFill/>
          </a:ln>
        </p:spPr>
        <p:txBody>
          <a:bodyPr wrap="none" lIns="18000" tIns="0" rIns="36000" bIns="0" anchor="ctr"/>
          <a:lstStyle/>
          <a:p>
            <a:pPr algn="r" defTabSz="603250">
              <a:spcBef>
                <a:spcPct val="15000"/>
              </a:spcBef>
              <a:spcAft>
                <a:spcPct val="15000"/>
              </a:spcAft>
              <a:buClr>
                <a:srgbClr val="00C9FF"/>
              </a:buClr>
              <a:defRPr/>
            </a:pPr>
            <a:endParaRPr lang="en-GB" sz="500" b="1" dirty="0">
              <a:solidFill>
                <a:srgbClr val="FFFFFF"/>
              </a:solidFill>
            </a:endParaRPr>
          </a:p>
        </p:txBody>
      </p:sp>
      <p:sp>
        <p:nvSpPr>
          <p:cNvPr id="52" name="Date Placeholder 3"/>
          <p:cNvSpPr txBox="1">
            <a:spLocks/>
          </p:cNvSpPr>
          <p:nvPr/>
        </p:nvSpPr>
        <p:spPr>
          <a:xfrm>
            <a:off x="722326" y="6191252"/>
            <a:ext cx="687387" cy="184149"/>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FEF4778-5275-AF44-A3A2-413C53D52084}" type="datetime1">
              <a:rPr lang="en-GB" sz="800" smtClean="0">
                <a:solidFill>
                  <a:srgbClr val="68717A"/>
                </a:solidFill>
                <a:cs typeface="Arial" panose="020B0604020202020204" pitchFamily="34" charset="0"/>
              </a:rPr>
              <a:pPr>
                <a:defRPr/>
              </a:pPr>
              <a:t>26/01/2021</a:t>
            </a:fld>
            <a:endParaRPr lang="en-GB" sz="800" dirty="0">
              <a:solidFill>
                <a:srgbClr val="68717A"/>
              </a:solidFill>
              <a:cs typeface="Arial" panose="020B0604020202020204" pitchFamily="34" charset="0"/>
            </a:endParaRPr>
          </a:p>
        </p:txBody>
      </p:sp>
      <p:sp>
        <p:nvSpPr>
          <p:cNvPr id="53" name="Slide Number Placeholder 5"/>
          <p:cNvSpPr txBox="1">
            <a:spLocks/>
          </p:cNvSpPr>
          <p:nvPr/>
        </p:nvSpPr>
        <p:spPr>
          <a:xfrm>
            <a:off x="433388" y="6191252"/>
            <a:ext cx="144462" cy="184149"/>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9182688-34E5-4CE3-92E4-C88AA8BD9750}" type="slidenum">
              <a:rPr lang="en-GB" sz="800" smtClean="0">
                <a:solidFill>
                  <a:srgbClr val="68717A"/>
                </a:solidFill>
                <a:cs typeface="Arial" panose="020B0604020202020204" pitchFamily="34" charset="0"/>
              </a:rPr>
              <a:pPr>
                <a:defRPr/>
              </a:pPr>
              <a:t>‹#›</a:t>
            </a:fld>
            <a:endParaRPr lang="en-GB" dirty="0">
              <a:solidFill>
                <a:srgbClr val="68717A"/>
              </a:solidFill>
              <a:cs typeface="Arial" panose="020B0604020202020204" pitchFamily="34" charset="0"/>
            </a:endParaRPr>
          </a:p>
        </p:txBody>
      </p:sp>
      <p:pic>
        <p:nvPicPr>
          <p:cNvPr id="1050" name="Picture 1"/>
          <p:cNvPicPr>
            <a:picLocks/>
          </p:cNvPicPr>
          <p:nvPr/>
        </p:nvPicPr>
        <p:blipFill>
          <a:blip r:embed="rId9" cstate="screen"/>
          <a:srcRect/>
          <a:stretch>
            <a:fillRect/>
          </a:stretch>
        </p:blipFill>
        <p:spPr bwMode="auto">
          <a:xfrm>
            <a:off x="7959738" y="6229351"/>
            <a:ext cx="701675" cy="154516"/>
          </a:xfrm>
          <a:prstGeom prst="rect">
            <a:avLst/>
          </a:prstGeom>
          <a:noFill/>
          <a:ln w="9525">
            <a:noFill/>
            <a:miter lim="800000"/>
            <a:headEnd/>
            <a:tailEnd/>
          </a:ln>
        </p:spPr>
      </p:pic>
      <p:sp>
        <p:nvSpPr>
          <p:cNvPr id="3" name="TextBox 2"/>
          <p:cNvSpPr txBox="1"/>
          <p:nvPr/>
        </p:nvSpPr>
        <p:spPr>
          <a:xfrm>
            <a:off x="1341441" y="6191259"/>
            <a:ext cx="6078537" cy="123111"/>
          </a:xfrm>
          <a:prstGeom prst="rect">
            <a:avLst/>
          </a:prstGeom>
          <a:noFill/>
        </p:spPr>
        <p:txBody>
          <a:bodyPr lIns="0" tIns="0" rIns="0" bIns="0">
            <a:spAutoFit/>
          </a:bodyPr>
          <a:lstStyle/>
          <a:p>
            <a:pPr defTabSz="457200" eaLnBrk="1" hangingPunct="1"/>
            <a:r>
              <a:rPr lang="en-GB" sz="800" dirty="0">
                <a:solidFill>
                  <a:srgbClr val="68717A"/>
                </a:solidFill>
                <a:latin typeface="Nokia Pure Text Light"/>
                <a:cs typeface="Arial" charset="0"/>
              </a:rPr>
              <a:t>© Nokia 2015 </a:t>
            </a:r>
          </a:p>
        </p:txBody>
      </p:sp>
      <p:sp>
        <p:nvSpPr>
          <p:cNvPr id="28" name="TextBox 27"/>
          <p:cNvSpPr txBox="1"/>
          <p:nvPr/>
        </p:nvSpPr>
        <p:spPr>
          <a:xfrm>
            <a:off x="1503366" y="6333067"/>
            <a:ext cx="6078537" cy="338554"/>
          </a:xfrm>
          <a:prstGeom prst="rect">
            <a:avLst/>
          </a:prstGeom>
          <a:noFill/>
        </p:spPr>
        <p:txBody>
          <a:bodyPr>
            <a:spAutoFit/>
          </a:bodyPr>
          <a:lstStyle/>
          <a:p>
            <a:pPr defTabSz="457200" eaLnBrk="1" hangingPunct="1">
              <a:defRPr/>
            </a:pPr>
            <a:endParaRPr lang="en-GB" sz="800" dirty="0">
              <a:solidFill>
                <a:srgbClr val="68717A"/>
              </a:solidFill>
            </a:endParaRPr>
          </a:p>
          <a:p>
            <a:pPr defTabSz="457200" eaLnBrk="1" hangingPunct="1">
              <a:defRPr/>
            </a:pPr>
            <a:endParaRPr lang="en-GB" sz="800" dirty="0">
              <a:solidFill>
                <a:srgbClr val="68717A"/>
              </a:solidFill>
            </a:endParaRPr>
          </a:p>
        </p:txBody>
      </p:sp>
      <p:sp>
        <p:nvSpPr>
          <p:cNvPr id="29" name="TextBox 28"/>
          <p:cNvSpPr txBox="1"/>
          <p:nvPr/>
        </p:nvSpPr>
        <p:spPr>
          <a:xfrm>
            <a:off x="432002" y="6383875"/>
            <a:ext cx="6078537" cy="123111"/>
          </a:xfrm>
          <a:prstGeom prst="rect">
            <a:avLst/>
          </a:prstGeom>
          <a:noFill/>
        </p:spPr>
        <p:txBody>
          <a:bodyPr lIns="0" tIns="0" rIns="0" bIns="0">
            <a:spAutoFit/>
          </a:bodyPr>
          <a:lstStyle/>
          <a:p>
            <a:pPr defTabSz="457200" eaLnBrk="1" hangingPunct="1">
              <a:defRPr/>
            </a:pPr>
            <a:r>
              <a:rPr lang="en-GB" sz="800">
                <a:solidFill>
                  <a:srgbClr val="68717A"/>
                </a:solidFill>
                <a:latin typeface="Nokia Pure Text Light"/>
                <a:cs typeface="Arial" charset="0"/>
              </a:rPr>
              <a:t>Confidential</a:t>
            </a:r>
            <a:endParaRPr lang="en-GB" sz="800" dirty="0">
              <a:solidFill>
                <a:srgbClr val="68717A"/>
              </a:solidFill>
              <a:latin typeface="Nokia Pure Text Light"/>
              <a:cs typeface="Arial" charset="0"/>
            </a:endParaRPr>
          </a:p>
        </p:txBody>
      </p:sp>
      <p:sp>
        <p:nvSpPr>
          <p:cNvPr id="33" name="Text Box 13"/>
          <p:cNvSpPr txBox="1">
            <a:spLocks noChangeArrowheads="1"/>
          </p:cNvSpPr>
          <p:nvPr userDrawn="1"/>
        </p:nvSpPr>
        <p:spPr bwMode="auto">
          <a:xfrm>
            <a:off x="7649938" y="68947"/>
            <a:ext cx="1463675" cy="276999"/>
          </a:xfrm>
          <a:prstGeom prst="rect">
            <a:avLst/>
          </a:prstGeom>
          <a:noFill/>
          <a:ln w="9525">
            <a:noFill/>
            <a:miter lim="800000"/>
            <a:headEnd/>
            <a:tailEnd/>
          </a:ln>
        </p:spPr>
        <p:txBody>
          <a:bodyPr>
            <a:spAutoFit/>
          </a:bodyPr>
          <a:lstStyle/>
          <a:p>
            <a:pPr algn="r" eaLnBrk="1" hangingPunct="1">
              <a:spcBef>
                <a:spcPct val="50000"/>
              </a:spcBef>
              <a:defRPr/>
            </a:pPr>
            <a:r>
              <a:rPr lang="en-GB" sz="1200" b="1" dirty="0"/>
              <a:t>S2-153083</a:t>
            </a:r>
            <a:endParaRPr lang="en-GB" sz="1200" dirty="0">
              <a:solidFill>
                <a:schemeClr val="bg2"/>
              </a:solidFill>
            </a:endParaRPr>
          </a:p>
        </p:txBody>
      </p:sp>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Lst>
  <p:hf sldNum="0" hdr="0"/>
  <p:txStyles>
    <p:titleStyle>
      <a:lvl1pPr algn="l" defTabSz="457200"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ctrTitle"/>
          </p:nvPr>
        </p:nvSpPr>
        <p:spPr>
          <a:xfrm>
            <a:off x="510363" y="1357745"/>
            <a:ext cx="8176437" cy="2119746"/>
          </a:xfrm>
        </p:spPr>
        <p:txBody>
          <a:bodyPr>
            <a:normAutofit/>
          </a:bodyPr>
          <a:lstStyle/>
          <a:p>
            <a:pPr>
              <a:defRPr/>
            </a:pPr>
            <a:r>
              <a:rPr lang="en-US" sz="4000" b="1" dirty="0" err="1"/>
              <a:t>FS_IIoT</a:t>
            </a:r>
            <a:r>
              <a:rPr lang="en-US" sz="4000" b="1" dirty="0"/>
              <a:t>/</a:t>
            </a:r>
            <a:r>
              <a:rPr lang="en-US" sz="4000" b="1" dirty="0" err="1"/>
              <a:t>IIoT</a:t>
            </a:r>
            <a:r>
              <a:rPr lang="en-US" sz="4000" b="1" dirty="0"/>
              <a:t> (AI#8.5)</a:t>
            </a:r>
            <a:br>
              <a:rPr lang="en-US" sz="4000" b="1" dirty="0"/>
            </a:br>
            <a:r>
              <a:rPr lang="en-US" sz="4000" b="1" dirty="0"/>
              <a:t>Show of hands questions and other items</a:t>
            </a:r>
            <a:endParaRPr lang="en-GB" sz="4000" dirty="0">
              <a:effectLst>
                <a:outerShdw blurRad="38100" dist="38100" dir="2700000" algn="tl">
                  <a:srgbClr val="C0C0C0"/>
                </a:outerShdw>
              </a:effectLst>
            </a:endParaRPr>
          </a:p>
        </p:txBody>
      </p:sp>
      <p:sp>
        <p:nvSpPr>
          <p:cNvPr id="4" name="Text Placeholder 2">
            <a:extLst>
              <a:ext uri="{FF2B5EF4-FFF2-40B4-BE49-F238E27FC236}">
                <a16:creationId xmlns:a16="http://schemas.microsoft.com/office/drawing/2014/main" id="{2F059774-627B-4415-8FE0-0AEA0AE8D966}"/>
              </a:ext>
            </a:extLst>
          </p:cNvPr>
          <p:cNvSpPr txBox="1">
            <a:spLocks/>
          </p:cNvSpPr>
          <p:nvPr/>
        </p:nvSpPr>
        <p:spPr bwMode="auto">
          <a:xfrm>
            <a:off x="1257300" y="3881355"/>
            <a:ext cx="7886700" cy="131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Blip>
                <a:blip r:embed="rId3"/>
              </a:buBlip>
              <a:defRPr sz="2800">
                <a:solidFill>
                  <a:schemeClr val="tx1"/>
                </a:solidFill>
                <a:latin typeface="Calibri" panose="020F0502020204030204" pitchFamily="34" charset="0"/>
              </a:defRPr>
            </a:lvl1pPr>
            <a:lvl2pPr marL="685800" indent="-228600">
              <a:lnSpc>
                <a:spcPct val="90000"/>
              </a:lnSpc>
              <a:spcBef>
                <a:spcPts val="500"/>
              </a:spcBef>
              <a:buClr>
                <a:srgbClr val="C00000"/>
              </a:buClr>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spcBef>
                <a:spcPct val="0"/>
              </a:spcBef>
              <a:buFontTx/>
              <a:buNone/>
            </a:pPr>
            <a:r>
              <a:rPr lang="en-GB" altLang="en-US" sz="2000" b="1" dirty="0"/>
              <a:t>Source:			Nokia (Rapporteur)</a:t>
            </a:r>
            <a:endParaRPr lang="en-US" altLang="en-US" sz="2000" dirty="0"/>
          </a:p>
          <a:p>
            <a:pPr>
              <a:spcBef>
                <a:spcPct val="0"/>
              </a:spcBef>
              <a:buFontTx/>
              <a:buNone/>
            </a:pPr>
            <a:r>
              <a:rPr lang="en-GB" altLang="en-US" sz="2000" b="1" dirty="0"/>
              <a:t>Document for:		</a:t>
            </a:r>
            <a:r>
              <a:rPr lang="en-US" altLang="en-US" sz="2000" b="1" dirty="0"/>
              <a:t>Show of Hands and Agreement</a:t>
            </a:r>
            <a:endParaRPr lang="en-US" altLang="en-US" sz="2000" dirty="0"/>
          </a:p>
          <a:p>
            <a:pPr>
              <a:spcBef>
                <a:spcPct val="0"/>
              </a:spcBef>
              <a:buFontTx/>
              <a:buNone/>
            </a:pPr>
            <a:r>
              <a:rPr lang="en-GB" altLang="en-US" sz="2000" b="1" dirty="0"/>
              <a:t>Agenda Item:		</a:t>
            </a:r>
            <a:r>
              <a:rPr lang="en-US" altLang="en-US" sz="2000" b="1" dirty="0"/>
              <a:t>8.5</a:t>
            </a:r>
            <a:endParaRPr lang="en-US" altLang="en-US" sz="2000" dirty="0"/>
          </a:p>
          <a:p>
            <a:pPr>
              <a:spcBef>
                <a:spcPct val="0"/>
              </a:spcBef>
              <a:buFontTx/>
              <a:buNone/>
            </a:pPr>
            <a:r>
              <a:rPr lang="en-GB" altLang="en-US" sz="2000" b="1" dirty="0"/>
              <a:t>Work Item / Release:	</a:t>
            </a:r>
            <a:r>
              <a:rPr lang="en-US" altLang="zh-CN" sz="2000" b="1" dirty="0" err="1"/>
              <a:t>FS_IIoT</a:t>
            </a:r>
            <a:r>
              <a:rPr lang="en-GB" altLang="en-US" sz="2000" b="1" dirty="0"/>
              <a:t> /</a:t>
            </a:r>
            <a:r>
              <a:rPr lang="en-GB" altLang="en-US" sz="2000" b="1" dirty="0" err="1"/>
              <a:t>IIoT</a:t>
            </a:r>
            <a:r>
              <a:rPr lang="en-GB" altLang="en-US" sz="2000" b="1" dirty="0"/>
              <a:t>/ Rel-17</a:t>
            </a:r>
            <a:endParaRPr lang="en-US" altLang="en-US" sz="2000" dirty="0"/>
          </a:p>
        </p:txBody>
      </p:sp>
    </p:spTree>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25683-A7FB-4D8F-AF7D-D0F012760FBF}"/>
              </a:ext>
            </a:extLst>
          </p:cNvPr>
          <p:cNvSpPr>
            <a:spLocks noGrp="1"/>
          </p:cNvSpPr>
          <p:nvPr>
            <p:ph type="title"/>
          </p:nvPr>
        </p:nvSpPr>
        <p:spPr/>
        <p:txBody>
          <a:bodyPr/>
          <a:lstStyle/>
          <a:p>
            <a:r>
              <a:rPr lang="en-US" dirty="0"/>
              <a:t>Key Issue #3A </a:t>
            </a:r>
            <a:r>
              <a:rPr lang="en-GB" dirty="0"/>
              <a:t>Exposure of </a:t>
            </a:r>
            <a:r>
              <a:rPr lang="en-US" dirty="0"/>
              <a:t>deterministic QoS</a:t>
            </a:r>
          </a:p>
        </p:txBody>
      </p:sp>
      <p:sp>
        <p:nvSpPr>
          <p:cNvPr id="3" name="Content Placeholder 2">
            <a:extLst>
              <a:ext uri="{FF2B5EF4-FFF2-40B4-BE49-F238E27FC236}">
                <a16:creationId xmlns:a16="http://schemas.microsoft.com/office/drawing/2014/main" id="{6589258C-F3B0-4661-9461-6BE5C76AD563}"/>
              </a:ext>
            </a:extLst>
          </p:cNvPr>
          <p:cNvSpPr>
            <a:spLocks noGrp="1"/>
          </p:cNvSpPr>
          <p:nvPr>
            <p:ph idx="1"/>
          </p:nvPr>
        </p:nvSpPr>
        <p:spPr/>
        <p:txBody>
          <a:bodyPr/>
          <a:lstStyle/>
          <a:p>
            <a:pPr marL="342900" lvl="1" indent="-342900">
              <a:buBlip>
                <a:blip r:embed="rId3"/>
              </a:buBlip>
            </a:pPr>
            <a:r>
              <a:rPr lang="en-US" dirty="0"/>
              <a:t>Background:</a:t>
            </a:r>
          </a:p>
          <a:p>
            <a:pPr lvl="1"/>
            <a:r>
              <a:rPr lang="en-GB" sz="1800" dirty="0"/>
              <a:t>Conclusion has the following:</a:t>
            </a:r>
          </a:p>
          <a:p>
            <a:pPr lvl="1"/>
            <a:r>
              <a:rPr lang="x-none" sz="1800" dirty="0"/>
              <a:t>Editor's note:	Whether the Burst Spread should be included is FFS.</a:t>
            </a:r>
            <a:endParaRPr lang="en-US" sz="1800" dirty="0"/>
          </a:p>
          <a:p>
            <a:pPr lvl="1"/>
            <a:r>
              <a:rPr lang="en-US" sz="1800" dirty="0"/>
              <a:t>Background: AF provides Burst Spread parameter separately</a:t>
            </a:r>
          </a:p>
          <a:p>
            <a:pPr marL="342900" lvl="1" indent="-342900">
              <a:buBlip>
                <a:blip r:embed="rId3"/>
              </a:buBlip>
            </a:pPr>
            <a:r>
              <a:rPr lang="en-US" dirty="0"/>
              <a:t>Should Burst Spread should be included as part of </a:t>
            </a:r>
            <a:r>
              <a:rPr lang="en-US" dirty="0" err="1"/>
              <a:t>FS_IIoT</a:t>
            </a:r>
            <a:r>
              <a:rPr lang="en-US" dirty="0"/>
              <a:t> conclusion and normative work?</a:t>
            </a:r>
          </a:p>
          <a:p>
            <a:pPr marL="342900" lvl="1" indent="-342900">
              <a:buBlip>
                <a:blip r:embed="rId3"/>
              </a:buBlip>
            </a:pPr>
            <a:r>
              <a:rPr lang="en-US" dirty="0"/>
              <a:t>YES</a:t>
            </a:r>
          </a:p>
          <a:p>
            <a:pPr marL="342900" lvl="1" indent="-342900">
              <a:buBlip>
                <a:blip r:embed="rId3"/>
              </a:buBlip>
            </a:pPr>
            <a:r>
              <a:rPr lang="en-US" dirty="0"/>
              <a:t>NO</a:t>
            </a:r>
          </a:p>
          <a:p>
            <a:pPr marL="342900" lvl="1" indent="-342900">
              <a:buBlip>
                <a:blip r:embed="rId3"/>
              </a:buBlip>
            </a:pPr>
            <a:r>
              <a:rPr lang="en-US" dirty="0"/>
              <a:t>Way Forward:</a:t>
            </a:r>
          </a:p>
          <a:p>
            <a:pPr marL="342900" lvl="1" indent="-342900">
              <a:buBlip>
                <a:blip r:embed="rId3"/>
              </a:buBlip>
            </a:pPr>
            <a:endParaRPr lang="en-US" sz="1800" dirty="0">
              <a:ea typeface="+mn-ea"/>
              <a:cs typeface="+mn-cs"/>
            </a:endParaRPr>
          </a:p>
          <a:p>
            <a:pPr marL="342900" lvl="1" indent="-342900">
              <a:buBlip>
                <a:blip r:embed="rId3"/>
              </a:buBlip>
            </a:pPr>
            <a:endParaRPr lang="en-US" sz="2800" dirty="0">
              <a:ea typeface="+mn-ea"/>
              <a:cs typeface="+mn-cs"/>
            </a:endParaRPr>
          </a:p>
          <a:p>
            <a:pPr lvl="1"/>
            <a:endParaRPr lang="en-US" dirty="0"/>
          </a:p>
          <a:p>
            <a:pPr lvl="1"/>
            <a:endParaRPr lang="en-US" dirty="0"/>
          </a:p>
        </p:txBody>
      </p:sp>
    </p:spTree>
    <p:extLst>
      <p:ext uri="{BB962C8B-B14F-4D97-AF65-F5344CB8AC3E}">
        <p14:creationId xmlns:p14="http://schemas.microsoft.com/office/powerpoint/2010/main" val="4216920542"/>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25683-A7FB-4D8F-AF7D-D0F012760FBF}"/>
              </a:ext>
            </a:extLst>
          </p:cNvPr>
          <p:cNvSpPr>
            <a:spLocks noGrp="1"/>
          </p:cNvSpPr>
          <p:nvPr>
            <p:ph type="title"/>
          </p:nvPr>
        </p:nvSpPr>
        <p:spPr/>
        <p:txBody>
          <a:bodyPr/>
          <a:lstStyle/>
          <a:p>
            <a:r>
              <a:rPr lang="en-US" dirty="0"/>
              <a:t>Key Issue #3A </a:t>
            </a:r>
            <a:r>
              <a:rPr lang="en-GB" dirty="0"/>
              <a:t>Exposure of </a:t>
            </a:r>
            <a:r>
              <a:rPr lang="en-US" dirty="0"/>
              <a:t>deterministic QoS</a:t>
            </a:r>
          </a:p>
        </p:txBody>
      </p:sp>
      <p:sp>
        <p:nvSpPr>
          <p:cNvPr id="3" name="Content Placeholder 2">
            <a:extLst>
              <a:ext uri="{FF2B5EF4-FFF2-40B4-BE49-F238E27FC236}">
                <a16:creationId xmlns:a16="http://schemas.microsoft.com/office/drawing/2014/main" id="{6589258C-F3B0-4661-9461-6BE5C76AD563}"/>
              </a:ext>
            </a:extLst>
          </p:cNvPr>
          <p:cNvSpPr>
            <a:spLocks noGrp="1"/>
          </p:cNvSpPr>
          <p:nvPr>
            <p:ph idx="1"/>
          </p:nvPr>
        </p:nvSpPr>
        <p:spPr/>
        <p:txBody>
          <a:bodyPr/>
          <a:lstStyle/>
          <a:p>
            <a:pPr marL="342900" lvl="1" indent="-342900">
              <a:buBlip>
                <a:blip r:embed="rId3"/>
              </a:buBlip>
            </a:pPr>
            <a:r>
              <a:rPr lang="en-US" dirty="0"/>
              <a:t>Background:</a:t>
            </a:r>
          </a:p>
          <a:p>
            <a:pPr lvl="1"/>
            <a:r>
              <a:rPr lang="en-GB" sz="1800" dirty="0"/>
              <a:t>Conclusion has the following:</a:t>
            </a:r>
          </a:p>
          <a:p>
            <a:pPr lvl="1"/>
            <a:r>
              <a:rPr lang="x-none" sz="1800" dirty="0"/>
              <a:t>Editor's note:	</a:t>
            </a:r>
            <a:r>
              <a:rPr lang="en-US" sz="1800" dirty="0"/>
              <a:t>Need for jitter measurement is FFS</a:t>
            </a:r>
            <a:r>
              <a:rPr lang="x-none" sz="1800" dirty="0"/>
              <a:t>.</a:t>
            </a:r>
            <a:endParaRPr lang="en-US" sz="1800" dirty="0"/>
          </a:p>
          <a:p>
            <a:pPr marL="342900" lvl="1" indent="-342900">
              <a:buBlip>
                <a:blip r:embed="rId3"/>
              </a:buBlip>
            </a:pPr>
            <a:r>
              <a:rPr lang="en-US" dirty="0"/>
              <a:t>Should jitter measurement be included as part of </a:t>
            </a:r>
            <a:r>
              <a:rPr lang="en-US" dirty="0" err="1"/>
              <a:t>FS_IIoT</a:t>
            </a:r>
            <a:r>
              <a:rPr lang="en-US" dirty="0"/>
              <a:t> conclusion and normative work?</a:t>
            </a:r>
          </a:p>
          <a:p>
            <a:pPr marL="342900" lvl="1" indent="-342900">
              <a:buBlip>
                <a:blip r:embed="rId3"/>
              </a:buBlip>
            </a:pPr>
            <a:r>
              <a:rPr lang="en-US" dirty="0"/>
              <a:t>YES</a:t>
            </a:r>
          </a:p>
          <a:p>
            <a:pPr marL="342900" lvl="1" indent="-342900">
              <a:buBlip>
                <a:blip r:embed="rId3"/>
              </a:buBlip>
            </a:pPr>
            <a:r>
              <a:rPr lang="en-US" dirty="0"/>
              <a:t>NO</a:t>
            </a:r>
          </a:p>
          <a:p>
            <a:pPr marL="342900" lvl="1" indent="-342900">
              <a:buBlip>
                <a:blip r:embed="rId3"/>
              </a:buBlip>
            </a:pPr>
            <a:r>
              <a:rPr lang="en-US" dirty="0"/>
              <a:t>Way forward:</a:t>
            </a:r>
          </a:p>
          <a:p>
            <a:pPr lvl="1"/>
            <a:endParaRPr lang="en-US" dirty="0"/>
          </a:p>
          <a:p>
            <a:pPr lvl="1"/>
            <a:endParaRPr lang="en-US" dirty="0"/>
          </a:p>
        </p:txBody>
      </p:sp>
    </p:spTree>
    <p:extLst>
      <p:ext uri="{BB962C8B-B14F-4D97-AF65-F5344CB8AC3E}">
        <p14:creationId xmlns:p14="http://schemas.microsoft.com/office/powerpoint/2010/main" val="1222555270"/>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7AD3B0-04DD-4505-843C-28FF736CD1C9}"/>
              </a:ext>
            </a:extLst>
          </p:cNvPr>
          <p:cNvSpPr>
            <a:spLocks noGrp="1"/>
          </p:cNvSpPr>
          <p:nvPr>
            <p:ph type="title"/>
          </p:nvPr>
        </p:nvSpPr>
        <p:spPr/>
        <p:txBody>
          <a:bodyPr/>
          <a:lstStyle/>
          <a:p>
            <a:r>
              <a:rPr lang="en-US" dirty="0"/>
              <a:t>Background for KI#3A</a:t>
            </a:r>
            <a:br>
              <a:rPr lang="en-US" dirty="0"/>
            </a:br>
            <a:r>
              <a:rPr lang="en-US" dirty="0"/>
              <a:t>Burst spread and jitter</a:t>
            </a:r>
          </a:p>
        </p:txBody>
      </p:sp>
      <p:sp>
        <p:nvSpPr>
          <p:cNvPr id="3" name="Content Placeholder 2">
            <a:extLst>
              <a:ext uri="{FF2B5EF4-FFF2-40B4-BE49-F238E27FC236}">
                <a16:creationId xmlns:a16="http://schemas.microsoft.com/office/drawing/2014/main" id="{712C7B6D-3BC2-4F61-BC72-19302DA94E38}"/>
              </a:ext>
            </a:extLst>
          </p:cNvPr>
          <p:cNvSpPr>
            <a:spLocks noGrp="1"/>
          </p:cNvSpPr>
          <p:nvPr>
            <p:ph idx="1"/>
          </p:nvPr>
        </p:nvSpPr>
        <p:spPr/>
        <p:txBody>
          <a:bodyPr/>
          <a:lstStyle/>
          <a:p>
            <a:r>
              <a:rPr lang="en-GB" sz="1600" b="1" dirty="0"/>
              <a:t>5.3.2	Key Issue #3A: Exposure of deterministic QoS</a:t>
            </a:r>
            <a:endParaRPr lang="en-US" sz="1600" b="1" dirty="0"/>
          </a:p>
          <a:p>
            <a:r>
              <a:rPr lang="en-GB" sz="1600" dirty="0"/>
              <a:t>Any AF that has knowledge of deterministic application requirements should be able to request TSC services from the 5GS and as authorized, be notified of pertinent network events. This key issue is intended to support in the 5GS, requirements from TS 22.104 [4] where a TSN bridged network may not be needed and requirements from TS 22.263 [5] for Video, Imaging and Audio for Professional Applications (VIAPA). Applications provide those requirements to 5GS for any type of PDU Session.</a:t>
            </a:r>
            <a:endParaRPr lang="en-US" sz="1600" dirty="0"/>
          </a:p>
          <a:p>
            <a:r>
              <a:rPr lang="en-GB" sz="1600" dirty="0"/>
              <a:t>This KI focuses on enhancing NEF framework.</a:t>
            </a:r>
            <a:endParaRPr lang="en-US" sz="1600" dirty="0"/>
          </a:p>
          <a:p>
            <a:r>
              <a:rPr lang="en-GB" sz="1600" dirty="0"/>
              <a:t>For this Key Issue, the following areas should be studied:</a:t>
            </a:r>
            <a:endParaRPr lang="en-US" sz="1600" dirty="0"/>
          </a:p>
          <a:p>
            <a:r>
              <a:rPr lang="en-GB" sz="1600" dirty="0"/>
              <a:t>a)	</a:t>
            </a:r>
            <a:r>
              <a:rPr lang="en-GB" sz="1600" dirty="0">
                <a:solidFill>
                  <a:srgbClr val="FF0000"/>
                </a:solidFill>
              </a:rPr>
              <a:t>Ability for AF to request absolute delay and jitter requirements</a:t>
            </a:r>
            <a:r>
              <a:rPr lang="en-GB" sz="1600" dirty="0"/>
              <a:t>, and mechanisms to enable the PCF to determine the 5GS QoS parameters based on the requirements received from AF.</a:t>
            </a:r>
            <a:endParaRPr lang="en-US" sz="1600" dirty="0"/>
          </a:p>
          <a:p>
            <a:r>
              <a:rPr lang="en-GB" sz="1600" dirty="0"/>
              <a:t>b)	Ability for AF to indicate periodicity, burst size, burst arrival time (as defined in Rel-16 for TSC Assistance information) and Survival Time, </a:t>
            </a:r>
            <a:r>
              <a:rPr lang="en-GB" sz="1600" dirty="0">
                <a:solidFill>
                  <a:srgbClr val="FF0000"/>
                </a:solidFill>
              </a:rPr>
              <a:t>optionally burst spread (variation of burst arrival time for DL traffic resulting from jitter on N6, if applicable)</a:t>
            </a:r>
            <a:r>
              <a:rPr lang="en-GB" sz="1600" dirty="0"/>
              <a:t> along with Time Domain (reference for these parameters) associated with these parameters to the NEF.</a:t>
            </a:r>
            <a:endParaRPr lang="en-US" sz="1600" dirty="0"/>
          </a:p>
          <a:p>
            <a:r>
              <a:rPr lang="en-GB" sz="1600" dirty="0"/>
              <a:t>c)	How to enable an application and 5GS to agree on a TSC configuration that addresses the applications needs and can be supported by 5GS.</a:t>
            </a:r>
            <a:endParaRPr lang="en-US" sz="1600" dirty="0"/>
          </a:p>
          <a:p>
            <a:endParaRPr lang="en-US" dirty="0"/>
          </a:p>
        </p:txBody>
      </p:sp>
    </p:spTree>
    <p:extLst>
      <p:ext uri="{BB962C8B-B14F-4D97-AF65-F5344CB8AC3E}">
        <p14:creationId xmlns:p14="http://schemas.microsoft.com/office/powerpoint/2010/main" val="2339896579"/>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25683-A7FB-4D8F-AF7D-D0F012760FBF}"/>
              </a:ext>
            </a:extLst>
          </p:cNvPr>
          <p:cNvSpPr>
            <a:spLocks noGrp="1"/>
          </p:cNvSpPr>
          <p:nvPr>
            <p:ph type="title"/>
          </p:nvPr>
        </p:nvSpPr>
        <p:spPr/>
        <p:txBody>
          <a:bodyPr/>
          <a:lstStyle/>
          <a:p>
            <a:r>
              <a:rPr lang="en-US" dirty="0"/>
              <a:t>Key Issue #3B </a:t>
            </a:r>
            <a:r>
              <a:rPr lang="en-GB" dirty="0"/>
              <a:t>Exposure of TSC services</a:t>
            </a:r>
            <a:br>
              <a:rPr lang="en-US" b="1" dirty="0"/>
            </a:br>
            <a:r>
              <a:rPr lang="en-GB" dirty="0"/>
              <a:t>Exposure of Time Synchronization</a:t>
            </a:r>
            <a:endParaRPr lang="en-US" dirty="0"/>
          </a:p>
        </p:txBody>
      </p:sp>
      <p:sp>
        <p:nvSpPr>
          <p:cNvPr id="3" name="Content Placeholder 2">
            <a:extLst>
              <a:ext uri="{FF2B5EF4-FFF2-40B4-BE49-F238E27FC236}">
                <a16:creationId xmlns:a16="http://schemas.microsoft.com/office/drawing/2014/main" id="{6589258C-F3B0-4661-9461-6BE5C76AD563}"/>
              </a:ext>
            </a:extLst>
          </p:cNvPr>
          <p:cNvSpPr>
            <a:spLocks noGrp="1"/>
          </p:cNvSpPr>
          <p:nvPr>
            <p:ph idx="1"/>
          </p:nvPr>
        </p:nvSpPr>
        <p:spPr/>
        <p:txBody>
          <a:bodyPr/>
          <a:lstStyle/>
          <a:p>
            <a:r>
              <a:rPr lang="en-US" sz="1800" b="1" dirty="0"/>
              <a:t>Background:</a:t>
            </a:r>
          </a:p>
          <a:p>
            <a:pPr lvl="1"/>
            <a:r>
              <a:rPr lang="en-GB" sz="1800" dirty="0"/>
              <a:t>Conclusion has the following:</a:t>
            </a:r>
          </a:p>
          <a:p>
            <a:pPr lvl="1"/>
            <a:r>
              <a:rPr lang="en-GB" sz="1800" dirty="0"/>
              <a:t>Editor's note:	</a:t>
            </a:r>
            <a:r>
              <a:rPr lang="en-US" sz="1800" dirty="0"/>
              <a:t>whether there is a need to include validity time for AF time sync request is FFS. Also, how to support validity time is FFS.</a:t>
            </a:r>
          </a:p>
          <a:p>
            <a:pPr marL="342900" lvl="1" indent="-342900">
              <a:buBlip>
                <a:blip r:embed="rId3"/>
              </a:buBlip>
            </a:pPr>
            <a:r>
              <a:rPr lang="en-US" sz="1800" b="1" dirty="0">
                <a:ea typeface="+mn-ea"/>
                <a:cs typeface="+mn-cs"/>
              </a:rPr>
              <a:t>Options for resolution:</a:t>
            </a:r>
          </a:p>
          <a:p>
            <a:pPr lvl="1"/>
            <a:r>
              <a:rPr lang="en-GB" sz="1800" dirty="0"/>
              <a:t>Option 1: AF assumed to activate and deactivate requests for all the DS-TT(s) (thus maintain validity period accordingly). </a:t>
            </a:r>
          </a:p>
          <a:p>
            <a:pPr lvl="1"/>
            <a:r>
              <a:rPr lang="en-GB" sz="1800" b="1" dirty="0"/>
              <a:t>Support Option 1 for Validity period? (YES/NO)</a:t>
            </a:r>
          </a:p>
          <a:p>
            <a:pPr lvl="1"/>
            <a:r>
              <a:rPr lang="en-GB" sz="1800" dirty="0"/>
              <a:t>Option 2: If AF provides validity period for the request, 5GS maintains the validity period.</a:t>
            </a:r>
            <a:r>
              <a:rPr lang="en-US" sz="1800" dirty="0"/>
              <a:t> In this case, the time sync services are deactivated when the validity period expires</a:t>
            </a:r>
            <a:r>
              <a:rPr lang="en-GB" sz="1800" dirty="0"/>
              <a:t>. </a:t>
            </a:r>
          </a:p>
          <a:p>
            <a:pPr lvl="1"/>
            <a:r>
              <a:rPr lang="en-GB" sz="1800" b="1" dirty="0"/>
              <a:t>Support Option 2 for Validity period? (YES/NO)</a:t>
            </a:r>
          </a:p>
          <a:p>
            <a:pPr lvl="1"/>
            <a:r>
              <a:rPr lang="en-GB" sz="1800" dirty="0">
                <a:solidFill>
                  <a:srgbClr val="FF0000"/>
                </a:solidFill>
              </a:rPr>
              <a:t>Way forward: &lt; &gt;</a:t>
            </a:r>
          </a:p>
          <a:p>
            <a:pPr marL="342900" lvl="1" indent="-342900">
              <a:buBlip>
                <a:blip r:embed="rId3"/>
              </a:buBlip>
            </a:pPr>
            <a:endParaRPr lang="en-US" sz="1800" dirty="0">
              <a:ea typeface="+mn-ea"/>
              <a:cs typeface="+mn-cs"/>
            </a:endParaRPr>
          </a:p>
          <a:p>
            <a:pPr marL="342900" lvl="1" indent="-342900">
              <a:buBlip>
                <a:blip r:embed="rId3"/>
              </a:buBlip>
            </a:pPr>
            <a:endParaRPr lang="en-US" sz="2800" dirty="0">
              <a:ea typeface="+mn-ea"/>
              <a:cs typeface="+mn-cs"/>
            </a:endParaRPr>
          </a:p>
          <a:p>
            <a:pPr lvl="1"/>
            <a:endParaRPr lang="en-US" dirty="0"/>
          </a:p>
          <a:p>
            <a:pPr lvl="1"/>
            <a:endParaRPr lang="en-US" dirty="0"/>
          </a:p>
        </p:txBody>
      </p:sp>
    </p:spTree>
    <p:extLst>
      <p:ext uri="{BB962C8B-B14F-4D97-AF65-F5344CB8AC3E}">
        <p14:creationId xmlns:p14="http://schemas.microsoft.com/office/powerpoint/2010/main" val="3935128638"/>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000" b="0" i="0" u="none" strike="noStrike" cap="none" normalizeH="0" baseline="0" smtClean="0">
            <a:ln>
              <a:noFill/>
            </a:ln>
            <a:solidFill>
              <a:schemeClr val="tx1"/>
            </a:solidFill>
            <a:effectLst/>
            <a:latin typeface="Arial" charset="0"/>
          </a:defRPr>
        </a:defPPr>
      </a:lstStyle>
    </a:lnDef>
  </a:objectDefaults>
  <a:extraClrSchemeLst>
    <a:extraClrScheme>
      <a:clrScheme name="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nokia powerpoint template nokia pure v13">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kia PowerPoint Template Nokia Pure v12" id="{7AC05BEF-BBDF-4CF1-AA23-A676535EABCE}" vid="{991539CA-B441-4AED-8339-F6770207F6A2}"/>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9542</TotalTime>
  <Words>570</Words>
  <Application>Microsoft Office PowerPoint</Application>
  <PresentationFormat>On-screen Show (4:3)</PresentationFormat>
  <Paragraphs>48</Paragraphs>
  <Slides>5</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5" baseType="lpstr">
      <vt:lpstr>Arial</vt:lpstr>
      <vt:lpstr>Arial </vt:lpstr>
      <vt:lpstr>Calibri</vt:lpstr>
      <vt:lpstr>Lucida Grande</vt:lpstr>
      <vt:lpstr>Nokia Pure Headline Light</vt:lpstr>
      <vt:lpstr>Nokia Pure Text Light</vt:lpstr>
      <vt:lpstr>Times New Roman</vt:lpstr>
      <vt:lpstr>Office Theme</vt:lpstr>
      <vt:lpstr>nokia powerpoint template nokia pure v13</vt:lpstr>
      <vt:lpstr>think-cell Slide</vt:lpstr>
      <vt:lpstr>FS_IIoT/IIoT (AI#8.5) Show of hands questions and other items</vt:lpstr>
      <vt:lpstr>Key Issue #3A Exposure of deterministic QoS</vt:lpstr>
      <vt:lpstr>Key Issue #3A Exposure of deterministic QoS</vt:lpstr>
      <vt:lpstr>Background for KI#3A Burst spread and jitter</vt:lpstr>
      <vt:lpstr>Key Issue #3B Exposure of TSC services Exposure of Time Synchronization</vt:lpstr>
    </vt:vector>
  </TitlesOfParts>
  <Company>3GP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Scrase</dc:creator>
  <dc:description>© 2009  All rights reserved</dc:description>
  <cp:lastModifiedBy>Nokia</cp:lastModifiedBy>
  <cp:revision>817</cp:revision>
  <dcterms:created xsi:type="dcterms:W3CDTF">2008-08-30T09:32:10Z</dcterms:created>
  <dcterms:modified xsi:type="dcterms:W3CDTF">2021-01-27T03:0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flag">
    <vt:lpwstr>1436835755</vt:lpwstr>
  </property>
  <property fmtid="{D5CDD505-2E9C-101B-9397-08002B2CF9AE}" pid="3" name="_2015_ms_pID_725343">
    <vt:lpwstr>(2)az6LWZ/BzkH29ORZnQ1RTKIQg96V0vMjZ3UOLPjixIiRMweWfd7HeT6bBSfibyV6gbOx4hho
UguQ3NvCE8oNOQBb2NC+3HJSU1ci4zWWqJrxL1YhSS6f2QdSOlW9aUBA9h7rb59YI9Ixa33D
qw+3UexXsJmTXy1Sim/Fqm4Je+8pDx4Z7YmYStlrnQ1995J1gI6+eL29fmrKzb2QpCxk7Trw
qlr4m7QRjzu0W/kyJO</vt:lpwstr>
  </property>
  <property fmtid="{D5CDD505-2E9C-101B-9397-08002B2CF9AE}" pid="4" name="_2015_ms_pID_7253431">
    <vt:lpwstr>nOSRa3x7AQ3IgXmi84fNQuxUgKLV8+bOvMozq4FuG1irhlJjIxeD0d
Ljvf4yDFqpNQuqRAAy/AzAr4hogVFv1VVHqPPi/uJbIL3SaW4sFXjk/MmPK64Su6SWHHbgTR
N7Z2uCY0UqyhszyWtx03lKW98zFpqZtw4xmCCqb3Fp7STymhH6/mcYoHDbS38w+J9uqbqHnZ
m/emk2rXF1BPpgHL</vt:lpwstr>
  </property>
</Properties>
</file>